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5.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6.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7.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8.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9.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0.xml" ContentType="application/vnd.openxmlformats-officedocument.presentationml.notesSlide+xml"/>
  <Override PartName="/ppt/tags/tag195.xml" ContentType="application/vnd.openxmlformats-officedocument.presentationml.tags+xml"/>
  <Override PartName="/ppt/notesSlides/notesSlide11.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12.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13.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notesSlides/notesSlide14.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15.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notesSlides/notesSlide16.xml" ContentType="application/vnd.openxmlformats-officedocument.presentationml.notesSlide+xml"/>
  <Override PartName="/ppt/tags/tag246.xml" ContentType="application/vnd.openxmlformats-officedocument.presentationml.tags+xml"/>
  <Override PartName="/ppt/notesSlides/notesSlide17.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18.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19.xml" ContentType="application/vnd.openxmlformats-officedocument.presentationml.notesSlide+xml"/>
  <Override PartName="/ppt/tags/tag372.xml" ContentType="application/vnd.openxmlformats-officedocument.presentationml.tags+xml"/>
  <Override PartName="/ppt/notesSlides/notesSlide20.xml" ContentType="application/vnd.openxmlformats-officedocument.presentationml.notesSlide+xml"/>
  <Override PartName="/ppt/tags/tag373.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Lst>
  <p:notesMasterIdLst>
    <p:notesMasterId r:id="rId23"/>
  </p:notesMasterIdLst>
  <p:handoutMasterIdLst>
    <p:handoutMasterId r:id="rId24"/>
  </p:handoutMasterIdLst>
  <p:sldIdLst>
    <p:sldId id="352" r:id="rId2"/>
    <p:sldId id="376" r:id="rId3"/>
    <p:sldId id="357" r:id="rId4"/>
    <p:sldId id="373" r:id="rId5"/>
    <p:sldId id="353" r:id="rId6"/>
    <p:sldId id="355" r:id="rId7"/>
    <p:sldId id="356" r:id="rId8"/>
    <p:sldId id="358" r:id="rId9"/>
    <p:sldId id="359" r:id="rId10"/>
    <p:sldId id="360" r:id="rId11"/>
    <p:sldId id="361" r:id="rId12"/>
    <p:sldId id="362" r:id="rId13"/>
    <p:sldId id="375" r:id="rId14"/>
    <p:sldId id="367" r:id="rId15"/>
    <p:sldId id="365" r:id="rId16"/>
    <p:sldId id="366" r:id="rId17"/>
    <p:sldId id="368" r:id="rId18"/>
    <p:sldId id="369" r:id="rId19"/>
    <p:sldId id="370" r:id="rId20"/>
    <p:sldId id="377" r:id="rId21"/>
    <p:sldId id="371" r:id="rId22"/>
  </p:sldIdLst>
  <p:sldSz cx="11949113" cy="6721475"/>
  <p:notesSz cx="6858000" cy="9240838"/>
  <p:custDataLst>
    <p:tags r:id="rId2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3763">
          <p15:clr>
            <a:srgbClr val="A4A3A4"/>
          </p15:clr>
        </p15:guide>
      </p15:sldGuideLst>
    </p:ext>
    <p:ext uri="{2D200454-40CA-4A62-9FC3-DE9A4176ACB9}">
      <p15:notesGuideLst xmlns:p15="http://schemas.microsoft.com/office/powerpoint/2012/main">
        <p15:guide id="1" orient="horz" pos="2911"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97C4FF"/>
    <a:srgbClr val="E8E8E8"/>
    <a:srgbClr val="039D9F"/>
    <a:srgbClr val="0563BB"/>
    <a:srgbClr val="0354B0"/>
    <a:srgbClr val="0049A6"/>
    <a:srgbClr val="0457B5"/>
    <a:srgbClr val="10A2ED"/>
    <a:srgbClr val="087CE3"/>
    <a:srgbClr val="055C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74169" autoAdjust="0"/>
  </p:normalViewPr>
  <p:slideViewPr>
    <p:cSldViewPr snapToGrid="0" snapToObjects="1">
      <p:cViewPr varScale="1">
        <p:scale>
          <a:sx n="77" d="100"/>
          <a:sy n="77" d="100"/>
        </p:scale>
        <p:origin x="468" y="52"/>
      </p:cViewPr>
      <p:guideLst>
        <p:guide orient="horz" pos="2117"/>
        <p:guide pos="3763"/>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80" d="100"/>
          <a:sy n="80" d="100"/>
        </p:scale>
        <p:origin x="1530" y="102"/>
      </p:cViewPr>
      <p:guideLst>
        <p:guide orient="horz" pos="2911"/>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4.emf"/><Relationship Id="rId5" Type="http://schemas.openxmlformats.org/officeDocument/2006/relationships/image" Target="../media/image26.emf"/><Relationship Id="rId4"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14.emf"/><Relationship Id="rId4" Type="http://schemas.openxmlformats.org/officeDocument/2006/relationships/image" Target="../media/image3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52438" y="496888"/>
            <a:ext cx="6002337" cy="3376612"/>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5356" y="4965470"/>
            <a:ext cx="5844152"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120218" y="8886422"/>
            <a:ext cx="544054" cy="1722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1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664207" y="109972"/>
            <a:ext cx="65"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7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mckinsey.com/global-themes/urbanization/tackling-the-worlds-affordable-housing-challenge"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mckinsey.com/business-functions/sustainability-and-resource-productivity/our-insights/urban-mobility-at-a-tipping-poin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a:t>
            </a:fld>
            <a:endParaRPr lang="en-US" dirty="0"/>
          </a:p>
        </p:txBody>
      </p:sp>
    </p:spTree>
    <p:extLst>
      <p:ext uri="{BB962C8B-B14F-4D97-AF65-F5344CB8AC3E}">
        <p14:creationId xmlns:p14="http://schemas.microsoft.com/office/powerpoint/2010/main" val="37197284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3" y="4510283"/>
            <a:ext cx="5770969"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val="40977074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55356" y="4965470"/>
            <a:ext cx="5844152" cy="1384995"/>
          </a:xfrm>
        </p:spPr>
        <p:txBody>
          <a:bodyPr/>
          <a:lstStyle/>
          <a:p>
            <a:r>
              <a:rPr lang="en-US" sz="1500" dirty="0"/>
              <a:t>Housing strategies are enormously complex, involving initiatives and policies across financing, urban planning, infrastructure development, land-use regulation, building codes, delivery and contracting approaches, and more. But stakeholders from different parts of the system rarely work together to smooth friction and focus on the broader goal of getting more affordable housing built quickly.</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2948696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55356" y="4965470"/>
            <a:ext cx="5844152" cy="6247864"/>
          </a:xfrm>
        </p:spPr>
        <p:txBody>
          <a:bodyPr/>
          <a:lstStyle/>
          <a:p>
            <a:r>
              <a:rPr lang="en-US" sz="1500" dirty="0"/>
              <a:t>The “delivery lab” model addresses this lack of coordination by bringing together 30 to 40 people across these specialties for fast-paced, intensive working events.</a:t>
            </a:r>
          </a:p>
          <a:p>
            <a:endParaRPr lang="en-US" sz="1500" dirty="0"/>
          </a:p>
          <a:p>
            <a:r>
              <a:rPr lang="en-US" sz="1500" dirty="0"/>
              <a:t>In these settings, public- and private-sector stakeholders can address misperceptions and arrive at joint solutions. Labs can produce integrated plans that clarify expectations and synchronize timelines for what each player agrees to deliver. </a:t>
            </a:r>
          </a:p>
          <a:p>
            <a:endParaRPr lang="en-US" sz="1500" dirty="0"/>
          </a:p>
          <a:p>
            <a:r>
              <a:rPr lang="en-US" sz="1500" dirty="0"/>
              <a:t>Getting the right people around the table is critical. Sessions should be well-facilitated, with consultation from external topic experts. Each stakeholder should be represented by someone with enough seniority to make quick decisions, and the top sponsor (for example, a city mayor) should personally attend and guide key sessions.</a:t>
            </a:r>
          </a:p>
          <a:p>
            <a:endParaRPr lang="en-US" sz="1500" dirty="0"/>
          </a:p>
          <a:p>
            <a:r>
              <a:rPr lang="en-US" sz="1500" dirty="0"/>
              <a:t>The delivery-lab approach has had a major positive impact on the housing market in Saudi Arabia. The government invited all stakeholders across the public sector (all ministries and government entities related to housing) and private sector (including representatives from real-estate developers and banks). Citizens’ voices were also heard through the use of social media and focus groups. These events took a multidisciplinary approach to identifying the key challenges in the housing sector and devising solutions with clear targets, implementation plans, accountability, and budgets. The labs have aligned stakeholders around high-impact ideas that take practical considerations into account.</a:t>
            </a:r>
          </a:p>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3098236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0850" y="495300"/>
            <a:ext cx="6005513" cy="3378200"/>
          </a:xfrm>
        </p:spPr>
      </p:sp>
      <p:sp>
        <p:nvSpPr>
          <p:cNvPr id="3" name="Notes Placeholder 2"/>
          <p:cNvSpPr>
            <a:spLocks noGrp="1"/>
          </p:cNvSpPr>
          <p:nvPr>
            <p:ph type="body" idx="1"/>
          </p:nvPr>
        </p:nvSpPr>
        <p:spPr>
          <a:xfrm>
            <a:off x="555356" y="4965470"/>
            <a:ext cx="5844152" cy="461665"/>
          </a:xfrm>
        </p:spPr>
        <p:txBody>
          <a:bodyPr/>
          <a:lstStyle/>
          <a:p>
            <a:r>
              <a:rPr lang="en-US" sz="1500" dirty="0"/>
              <a:t>While cities can create a more efficient environment and incentives for innovation, construction companies also have to up their game. </a:t>
            </a:r>
            <a:endParaRPr lang="en-US" dirty="0"/>
          </a:p>
        </p:txBody>
      </p:sp>
      <p:sp>
        <p:nvSpPr>
          <p:cNvPr id="4" name="Slide Number Placeholder 3"/>
          <p:cNvSpPr>
            <a:spLocks noGrp="1"/>
          </p:cNvSpPr>
          <p:nvPr>
            <p:ph type="sldNum" sz="quarter" idx="10"/>
          </p:nvPr>
        </p:nvSpPr>
        <p:spPr/>
        <p:txBody>
          <a:bodyPr/>
          <a:lstStyle/>
          <a:p>
            <a:pPr defTabSz="849203">
              <a:defRPr/>
            </a:pPr>
            <a:fld id="{3C3A632B-FBDE-46D4-BF6F-6D14421E6342}" type="slidenum">
              <a:rPr lang="en-US">
                <a:solidFill>
                  <a:srgbClr val="000000"/>
                </a:solidFill>
              </a:rPr>
              <a:pPr defTabSz="849203">
                <a:defRPr/>
              </a:pPr>
              <a:t>13</a:t>
            </a:fld>
            <a:endParaRPr lang="en-US" dirty="0">
              <a:solidFill>
                <a:srgbClr val="000000"/>
              </a:solidFill>
            </a:endParaRPr>
          </a:p>
        </p:txBody>
      </p:sp>
    </p:spTree>
    <p:extLst>
      <p:ext uri="{BB962C8B-B14F-4D97-AF65-F5344CB8AC3E}">
        <p14:creationId xmlns:p14="http://schemas.microsoft.com/office/powerpoint/2010/main" val="22484186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55356" y="4965470"/>
            <a:ext cx="5844152" cy="2785378"/>
          </a:xfrm>
        </p:spPr>
        <p:txBody>
          <a:bodyPr/>
          <a:lstStyle/>
          <a:p>
            <a:r>
              <a:rPr lang="en-US" sz="1500" dirty="0"/>
              <a:t>Building projects on a larger scale can dramatically change the productivity and cost of delivering housing, making it possible to employ techniques such as repeatability and off-site fabrication. A number of companies take this approach while trying to incorporate design quality and variability as well as sustainability. Cities can support industry innovation by providing the land and infrastructure that allow for scale, tendering out city-scale developments, and consolidating high-volume demand.</a:t>
            </a:r>
          </a:p>
          <a:p>
            <a:r>
              <a:rPr lang="en-US" sz="1500" dirty="0"/>
              <a:t>Where cities themselves invest in housing or supporting infrastructure, contracts can be a powerful lever for raising construction productivity. </a:t>
            </a:r>
          </a:p>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1600904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4" y="4481020"/>
            <a:ext cx="5770970" cy="246221"/>
          </a:xfrm>
        </p:spPr>
        <p:txBody>
          <a:bodyPr/>
          <a:lstStyle/>
          <a:p>
            <a:endParaRPr lang="es-ES_tradnl" dirty="0"/>
          </a:p>
        </p:txBody>
      </p:sp>
      <p:sp>
        <p:nvSpPr>
          <p:cNvPr id="4" name="Slide Number Placeholder 3"/>
          <p:cNvSpPr>
            <a:spLocks noGrp="1"/>
          </p:cNvSpPr>
          <p:nvPr>
            <p:ph type="sldNum" sz="quarter" idx="10"/>
          </p:nvPr>
        </p:nvSpPr>
        <p:spPr/>
        <p:txBody>
          <a:bodyPr/>
          <a:lstStyle/>
          <a:p>
            <a:pPr>
              <a:defRPr/>
            </a:pPr>
            <a:fld id="{3C3A632B-FBDE-46D4-BF6F-6D14421E6342}" type="slidenum">
              <a:rPr lang="es-ES_tradnl" smtClean="0"/>
              <a:pPr>
                <a:defRPr/>
              </a:pPr>
              <a:t>15</a:t>
            </a:fld>
            <a:endParaRPr lang="es-ES_tradnl" dirty="0"/>
          </a:p>
        </p:txBody>
      </p:sp>
    </p:spTree>
    <p:extLst>
      <p:ext uri="{BB962C8B-B14F-4D97-AF65-F5344CB8AC3E}">
        <p14:creationId xmlns:p14="http://schemas.microsoft.com/office/powerpoint/2010/main" val="126149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4" y="4481020"/>
            <a:ext cx="5770970" cy="246221"/>
          </a:xfrm>
        </p:spPr>
        <p:txBody>
          <a:bodyPr/>
          <a:lstStyle/>
          <a:p>
            <a:endParaRPr lang="es-ES_tradnl" dirty="0"/>
          </a:p>
        </p:txBody>
      </p:sp>
      <p:sp>
        <p:nvSpPr>
          <p:cNvPr id="4" name="Slide Number Placeholder 3"/>
          <p:cNvSpPr>
            <a:spLocks noGrp="1"/>
          </p:cNvSpPr>
          <p:nvPr>
            <p:ph type="sldNum" sz="quarter" idx="10"/>
          </p:nvPr>
        </p:nvSpPr>
        <p:spPr/>
        <p:txBody>
          <a:bodyPr/>
          <a:lstStyle/>
          <a:p>
            <a:pPr>
              <a:defRPr/>
            </a:pPr>
            <a:fld id="{3C3A632B-FBDE-46D4-BF6F-6D14421E6342}" type="slidenum">
              <a:rPr lang="es-ES_tradnl" smtClean="0"/>
              <a:pPr>
                <a:defRPr/>
              </a:pPr>
              <a:t>16</a:t>
            </a:fld>
            <a:endParaRPr lang="es-ES_tradnl" dirty="0"/>
          </a:p>
        </p:txBody>
      </p:sp>
    </p:spTree>
    <p:extLst>
      <p:ext uri="{BB962C8B-B14F-4D97-AF65-F5344CB8AC3E}">
        <p14:creationId xmlns:p14="http://schemas.microsoft.com/office/powerpoint/2010/main" val="1481600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7</a:t>
            </a:fld>
            <a:endParaRPr lang="en-US" dirty="0"/>
          </a:p>
        </p:txBody>
      </p:sp>
    </p:spTree>
    <p:extLst>
      <p:ext uri="{BB962C8B-B14F-4D97-AF65-F5344CB8AC3E}">
        <p14:creationId xmlns:p14="http://schemas.microsoft.com/office/powerpoint/2010/main" val="2686357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4" y="4481020"/>
            <a:ext cx="5770970" cy="246221"/>
          </a:xfrm>
        </p:spPr>
        <p:txBody>
          <a:bodyPr/>
          <a:lstStyle/>
          <a:p>
            <a:endParaRPr lang="es-ES_tradnl" dirty="0"/>
          </a:p>
        </p:txBody>
      </p:sp>
      <p:sp>
        <p:nvSpPr>
          <p:cNvPr id="4" name="Slide Number Placeholder 3"/>
          <p:cNvSpPr>
            <a:spLocks noGrp="1"/>
          </p:cNvSpPr>
          <p:nvPr>
            <p:ph type="sldNum" sz="quarter" idx="10"/>
          </p:nvPr>
        </p:nvSpPr>
        <p:spPr/>
        <p:txBody>
          <a:bodyPr/>
          <a:lstStyle/>
          <a:p>
            <a:pPr>
              <a:defRPr/>
            </a:pPr>
            <a:fld id="{3C3A632B-FBDE-46D4-BF6F-6D14421E6342}" type="slidenum">
              <a:rPr lang="es-ES_tradnl" smtClean="0"/>
              <a:pPr>
                <a:defRPr/>
              </a:pPr>
              <a:t>18</a:t>
            </a:fld>
            <a:endParaRPr lang="es-ES_tradnl" dirty="0"/>
          </a:p>
        </p:txBody>
      </p:sp>
    </p:spTree>
    <p:extLst>
      <p:ext uri="{BB962C8B-B14F-4D97-AF65-F5344CB8AC3E}">
        <p14:creationId xmlns:p14="http://schemas.microsoft.com/office/powerpoint/2010/main" val="3603926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4" y="4481020"/>
            <a:ext cx="5770970" cy="246221"/>
          </a:xfrm>
        </p:spPr>
        <p:txBody>
          <a:bodyPr/>
          <a:lstStyle/>
          <a:p>
            <a:endParaRPr lang="es-ES_tradnl" dirty="0"/>
          </a:p>
        </p:txBody>
      </p:sp>
      <p:sp>
        <p:nvSpPr>
          <p:cNvPr id="4" name="Slide Number Placeholder 3"/>
          <p:cNvSpPr>
            <a:spLocks noGrp="1"/>
          </p:cNvSpPr>
          <p:nvPr>
            <p:ph type="sldNum" sz="quarter" idx="10"/>
          </p:nvPr>
        </p:nvSpPr>
        <p:spPr/>
        <p:txBody>
          <a:bodyPr/>
          <a:lstStyle/>
          <a:p>
            <a:pPr>
              <a:defRPr/>
            </a:pPr>
            <a:fld id="{3C3A632B-FBDE-46D4-BF6F-6D14421E6342}" type="slidenum">
              <a:rPr lang="es-ES_tradnl" smtClean="0"/>
              <a:pPr>
                <a:defRPr/>
              </a:pPr>
              <a:t>19</a:t>
            </a:fld>
            <a:endParaRPr lang="es-ES_tradnl" dirty="0"/>
          </a:p>
        </p:txBody>
      </p:sp>
    </p:spTree>
    <p:extLst>
      <p:ext uri="{BB962C8B-B14F-4D97-AF65-F5344CB8AC3E}">
        <p14:creationId xmlns:p14="http://schemas.microsoft.com/office/powerpoint/2010/main" val="542136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41908438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0</a:t>
            </a:fld>
            <a:endParaRPr lang="en-US" dirty="0"/>
          </a:p>
        </p:txBody>
      </p:sp>
    </p:spTree>
    <p:extLst>
      <p:ext uri="{BB962C8B-B14F-4D97-AF65-F5344CB8AC3E}">
        <p14:creationId xmlns:p14="http://schemas.microsoft.com/office/powerpoint/2010/main" val="33709127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3" y="4510283"/>
            <a:ext cx="5770969" cy="246221"/>
          </a:xfrm>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1</a:t>
            </a:fld>
            <a:endParaRPr lang="en-US" dirty="0"/>
          </a:p>
        </p:txBody>
      </p:sp>
    </p:spTree>
    <p:extLst>
      <p:ext uri="{BB962C8B-B14F-4D97-AF65-F5344CB8AC3E}">
        <p14:creationId xmlns:p14="http://schemas.microsoft.com/office/powerpoint/2010/main" val="1741705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defTabSz="849203">
              <a:defRPr/>
            </a:pPr>
            <a:fld id="{3C3A632B-FBDE-46D4-BF6F-6D14421E6342}" type="slidenum">
              <a:rPr lang="en-US">
                <a:solidFill>
                  <a:srgbClr val="000000"/>
                </a:solidFill>
              </a:rPr>
              <a:pPr defTabSz="849203">
                <a:defRPr/>
              </a:pPr>
              <a:t>3</a:t>
            </a:fld>
            <a:endParaRPr lang="en-US" dirty="0">
              <a:solidFill>
                <a:srgbClr val="000000"/>
              </a:solidFill>
            </a:endParaRPr>
          </a:p>
        </p:txBody>
      </p:sp>
      <p:sp>
        <p:nvSpPr>
          <p:cNvPr id="10" name="Slide Image Placeholder 9"/>
          <p:cNvSpPr>
            <a:spLocks noGrp="1" noRot="1" noChangeAspect="1"/>
          </p:cNvSpPr>
          <p:nvPr>
            <p:ph type="sldImg"/>
          </p:nvPr>
        </p:nvSpPr>
        <p:spPr>
          <a:xfrm>
            <a:off x="450850" y="495300"/>
            <a:ext cx="6005513" cy="3378200"/>
          </a:xfrm>
        </p:spPr>
      </p:sp>
      <p:sp>
        <p:nvSpPr>
          <p:cNvPr id="11" name="Notes Placeholder 10"/>
          <p:cNvSpPr>
            <a:spLocks noGrp="1"/>
          </p:cNvSpPr>
          <p:nvPr>
            <p:ph type="body" idx="1"/>
          </p:nvPr>
        </p:nvSpPr>
        <p:spPr>
          <a:xfrm>
            <a:off x="555356" y="4965470"/>
            <a:ext cx="5844152" cy="692497"/>
          </a:xfrm>
        </p:spPr>
        <p:txBody>
          <a:bodyPr/>
          <a:lstStyle/>
          <a:p>
            <a:r>
              <a:rPr lang="en-US" sz="1500" dirty="0"/>
              <a:t>As London’s economy has boomed over the past two decades, the city’s annual home completions increased by just over 10 percent, falling far short of demand and driving home prices five times higher.</a:t>
            </a:r>
            <a:endParaRPr lang="en-US" dirty="0"/>
          </a:p>
        </p:txBody>
      </p:sp>
    </p:spTree>
    <p:extLst>
      <p:ext uri="{BB962C8B-B14F-4D97-AF65-F5344CB8AC3E}">
        <p14:creationId xmlns:p14="http://schemas.microsoft.com/office/powerpoint/2010/main" val="2887357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0850" y="495300"/>
            <a:ext cx="6005513" cy="3378200"/>
          </a:xfrm>
        </p:spPr>
      </p:sp>
      <p:sp>
        <p:nvSpPr>
          <p:cNvPr id="3" name="Notes Placeholder 2"/>
          <p:cNvSpPr>
            <a:spLocks noGrp="1"/>
          </p:cNvSpPr>
          <p:nvPr>
            <p:ph type="body" idx="1"/>
          </p:nvPr>
        </p:nvSpPr>
        <p:spPr>
          <a:xfrm>
            <a:off x="555356" y="4965470"/>
            <a:ext cx="5844152" cy="3862596"/>
          </a:xfrm>
        </p:spPr>
        <p:txBody>
          <a:bodyPr/>
          <a:lstStyle/>
          <a:p>
            <a:pPr defTabSz="831512">
              <a:defRPr/>
            </a:pPr>
            <a:r>
              <a:rPr lang="en-US" sz="1500" dirty="0"/>
              <a:t>Rents and home prices have risen far faster than incomes in most countries, particularly in big cities, where many people want to live and where job opportunities are concentrated. The issue affects everyone from slum residents living on the margins to middle-income households.</a:t>
            </a:r>
            <a:endParaRPr lang="en-US" dirty="0"/>
          </a:p>
          <a:p>
            <a:endParaRPr lang="en-US" dirty="0"/>
          </a:p>
          <a:p>
            <a:r>
              <a:rPr lang="en-US" dirty="0"/>
              <a:t>To understand the global challenge in terms of this economic cost, we analyzed the affordability gap in 2,400 cities</a:t>
            </a:r>
          </a:p>
          <a:p>
            <a:pPr defTabSz="829638">
              <a:defRPr/>
            </a:pPr>
            <a:r>
              <a:rPr lang="en-US" dirty="0"/>
              <a:t>We estimate that the economic affordability gap is $650 billion globally today, about 1% of global GDP The economic affordability gap is concentrated in megacities, led by New York ($33 billion), Tokyo ($23 billion), and Beijing ($17 billion).Two thirds of the affordability gap is concentrated in top 100  cities and about 27% in the top 10 cities Affordable housing is an issue in high mid and low income countries. However, low-income megacities have high affordability gap relative to their GDP. </a:t>
            </a:r>
          </a:p>
        </p:txBody>
      </p:sp>
      <p:sp>
        <p:nvSpPr>
          <p:cNvPr id="4" name="Slide Number Placeholder 3"/>
          <p:cNvSpPr>
            <a:spLocks noGrp="1"/>
          </p:cNvSpPr>
          <p:nvPr>
            <p:ph type="sldNum" sz="quarter" idx="10"/>
          </p:nvPr>
        </p:nvSpPr>
        <p:spPr/>
        <p:txBody>
          <a:bodyPr/>
          <a:lstStyle/>
          <a:p>
            <a:pPr defTabSz="849203">
              <a:defRPr/>
            </a:pPr>
            <a:fld id="{3C3A632B-FBDE-46D4-BF6F-6D14421E6342}" type="slidenum">
              <a:rPr lang="en-US">
                <a:solidFill>
                  <a:srgbClr val="000000"/>
                </a:solidFill>
              </a:rPr>
              <a:pPr defTabSz="849203">
                <a:defRPr/>
              </a:pPr>
              <a:t>4</a:t>
            </a:fld>
            <a:endParaRPr lang="en-US" dirty="0">
              <a:solidFill>
                <a:srgbClr val="000000"/>
              </a:solidFill>
            </a:endParaRPr>
          </a:p>
        </p:txBody>
      </p:sp>
    </p:spTree>
    <p:extLst>
      <p:ext uri="{BB962C8B-B14F-4D97-AF65-F5344CB8AC3E}">
        <p14:creationId xmlns:p14="http://schemas.microsoft.com/office/powerpoint/2010/main" val="3317170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55356" y="4965470"/>
            <a:ext cx="5844152"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23476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55356" y="4965470"/>
            <a:ext cx="5844152" cy="2077492"/>
          </a:xfrm>
        </p:spPr>
        <p:txBody>
          <a:bodyPr/>
          <a:lstStyle/>
          <a:p>
            <a:r>
              <a:rPr lang="en-US" sz="1500" dirty="0"/>
              <a:t>Worldwide, </a:t>
            </a:r>
            <a:r>
              <a:rPr lang="en-US" sz="1500" dirty="0" err="1"/>
              <a:t>MGI</a:t>
            </a:r>
            <a:r>
              <a:rPr lang="en-US" sz="1500" dirty="0"/>
              <a:t> has estimated that some </a:t>
            </a:r>
            <a:r>
              <a:rPr lang="en-US" sz="1500" dirty="0">
                <a:hlinkClick r:id="rId3"/>
              </a:rPr>
              <a:t>330 million urban households</a:t>
            </a:r>
            <a:r>
              <a:rPr lang="en-US" sz="1500" dirty="0"/>
              <a:t> currently live in substandard housing or stretch to pay housing costs that exceed 30 percent of their income. This number could rise to 440 million households by 2025 if current trends are not reversed. Beyond the human toll, this issue eventually constrains economic growth. Investment in housing construction remains below its potential, and households with a disproportionate share of monthly income going toward rent or mortgage payments have to limit other forms of consumption.</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a:t>
            </a:fld>
            <a:endParaRPr lang="en-US" dirty="0"/>
          </a:p>
        </p:txBody>
      </p:sp>
    </p:spTree>
    <p:extLst>
      <p:ext uri="{BB962C8B-B14F-4D97-AF65-F5344CB8AC3E}">
        <p14:creationId xmlns:p14="http://schemas.microsoft.com/office/powerpoint/2010/main" val="959221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48403" y="4510283"/>
            <a:ext cx="5770969" cy="3939540"/>
          </a:xfrm>
        </p:spPr>
        <p:txBody>
          <a:bodyPr/>
          <a:lstStyle/>
          <a:p>
            <a:r>
              <a:rPr lang="en-US" sz="1500" dirty="0"/>
              <a:t>National and local governments around the world often address housing gaps by focusing on demand and financing. Strategies such as housing subsidies, privileged financing, or various forms of rent control offer much-needed relief to the low-income households they cover, and they are legitimate policy choices if carefully designed. But they are expensive and difficult to sustain—and they do not address the core issue of an underlying housing shortfall.</a:t>
            </a:r>
          </a:p>
          <a:p>
            <a:endParaRPr lang="en-US" sz="1500" dirty="0"/>
          </a:p>
          <a:p>
            <a:r>
              <a:rPr lang="en-US" sz="1500" dirty="0"/>
              <a:t>It will take a dramatic increase in the number of available housing units to achieve greater affordability. That is why </a:t>
            </a:r>
            <a:r>
              <a:rPr lang="en-US" sz="1500" dirty="0" err="1"/>
              <a:t>MGI</a:t>
            </a:r>
            <a:r>
              <a:rPr lang="en-US" sz="1500" dirty="0"/>
              <a:t> released research last fall that focused on supply-side solutions, addressing three challenges that all cities have in common: making land available, removing barriers, and making the construction sector more productive.</a:t>
            </a:r>
          </a:p>
          <a:p>
            <a:endParaRPr lang="en-US" sz="1500" dirty="0"/>
          </a:p>
          <a:p>
            <a:endParaRPr lang="en-US" sz="1500" dirty="0"/>
          </a:p>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a:t>
            </a:fld>
            <a:endParaRPr lang="en-US" dirty="0"/>
          </a:p>
        </p:txBody>
      </p:sp>
    </p:spTree>
    <p:extLst>
      <p:ext uri="{BB962C8B-B14F-4D97-AF65-F5344CB8AC3E}">
        <p14:creationId xmlns:p14="http://schemas.microsoft.com/office/powerpoint/2010/main" val="3713838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525463"/>
            <a:ext cx="6565900" cy="3694112"/>
          </a:xfrm>
        </p:spPr>
      </p:sp>
      <p:sp>
        <p:nvSpPr>
          <p:cNvPr id="3" name="Notes Placeholder 2"/>
          <p:cNvSpPr>
            <a:spLocks noGrp="1"/>
          </p:cNvSpPr>
          <p:nvPr>
            <p:ph type="body" idx="1"/>
          </p:nvPr>
        </p:nvSpPr>
        <p:spPr>
          <a:xfrm>
            <a:off x="555356" y="4965470"/>
            <a:ext cx="5844152" cy="2539157"/>
          </a:xfrm>
        </p:spPr>
        <p:txBody>
          <a:bodyPr/>
          <a:lstStyle/>
          <a:p>
            <a:r>
              <a:rPr lang="en-US" sz="1500" dirty="0"/>
              <a:t>Access to land is typically the biggest constraint for housing development and one of the major drivers of cost. In places such as Auckland and Rio de Janeiro, the cost of land often exceeds 40 percent of total property prices. In extreme cases such as San Francisco, land is so scarce that it can account for as much as 80 percent of a home’s price. Globally, we estimate that unlocking land to the fullest extent could reduce the cost of owning a standard housing unit by up to 20 percent. A comprehensive citywide mapping and inventory exercise can unearth many opportunities. Based on our past work in urban environments, we have identified seven areas of focus.</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8</a:t>
            </a:fld>
            <a:endParaRPr lang="en-US" dirty="0"/>
          </a:p>
        </p:txBody>
      </p:sp>
    </p:spTree>
    <p:extLst>
      <p:ext uri="{BB962C8B-B14F-4D97-AF65-F5344CB8AC3E}">
        <p14:creationId xmlns:p14="http://schemas.microsoft.com/office/powerpoint/2010/main" val="3781552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0850" y="495300"/>
            <a:ext cx="6005513" cy="3378200"/>
          </a:xfrm>
        </p:spPr>
      </p:sp>
      <p:sp>
        <p:nvSpPr>
          <p:cNvPr id="3" name="Notes Placeholder 2"/>
          <p:cNvSpPr>
            <a:spLocks noGrp="1"/>
          </p:cNvSpPr>
          <p:nvPr>
            <p:ph type="body" idx="1"/>
          </p:nvPr>
        </p:nvSpPr>
        <p:spPr>
          <a:xfrm>
            <a:off x="555356" y="4965470"/>
            <a:ext cx="5844152" cy="20944195"/>
          </a:xfrm>
        </p:spPr>
        <p:txBody>
          <a:bodyPr/>
          <a:lstStyle/>
          <a:p>
            <a:r>
              <a:rPr lang="en-US" sz="1500" dirty="0"/>
              <a:t>It is critical for congested cities to promote density around transit rather than encouraging sprawl and longer commutes. </a:t>
            </a:r>
            <a:r>
              <a:rPr lang="en-US" sz="1500" dirty="0">
                <a:hlinkClick r:id="rId3"/>
              </a:rPr>
              <a:t>Transit-oriented development</a:t>
            </a:r>
            <a:r>
              <a:rPr lang="en-US" sz="1500" dirty="0"/>
              <a:t> may involve redeveloping existing residential structures or encouraging new building by permitting higher floor-space ratios, loosening height restrictions, or allowing greater density in specific target zones. </a:t>
            </a:r>
          </a:p>
          <a:p>
            <a:endParaRPr lang="en-US" sz="1500" dirty="0"/>
          </a:p>
          <a:p>
            <a:r>
              <a:rPr lang="en-US" sz="1500" dirty="0"/>
              <a:t>These transit areas represent only 0.15 percent of California’s total land mass, yet they have disproportionate potential to rebalance California’s housing supply.</a:t>
            </a:r>
            <a:endParaRPr lang="en-US" baseline="0" dirty="0"/>
          </a:p>
          <a:p>
            <a:endParaRPr lang="en-US" baseline="0" dirty="0"/>
          </a:p>
          <a:p>
            <a:r>
              <a:rPr lang="en-US" baseline="0" dirty="0"/>
              <a:t>The power of TOD – this isn’t just about cramming high rises around train stations – it’s about the power of TOD to catalyze new walkable, mixed-use communities with jobs, housing, parks, retail, and restaurants</a:t>
            </a:r>
          </a:p>
          <a:p>
            <a:endParaRPr lang="en-US" baseline="0" dirty="0"/>
          </a:p>
          <a:p>
            <a:r>
              <a:rPr lang="en-US" sz="1500" dirty="0"/>
              <a:t>Breaking down the opportunity by region, we find that, in our “high case,:</a:t>
            </a:r>
          </a:p>
          <a:p>
            <a:pPr marL="265376" indent="-265376">
              <a:buFont typeface="Wingdings" panose="05000000000000000000" pitchFamily="2" charset="2"/>
              <a:buChar char="§"/>
            </a:pPr>
            <a:r>
              <a:rPr lang="en-US" sz="1500" dirty="0"/>
              <a:t>34 percent, or one million units, would be in the Bay Area</a:t>
            </a:r>
          </a:p>
          <a:p>
            <a:pPr marL="265376" indent="-265376">
              <a:buFont typeface="Wingdings" panose="05000000000000000000" pitchFamily="2" charset="2"/>
              <a:buChar char="§"/>
            </a:pPr>
            <a:r>
              <a:rPr lang="en-US" sz="1500" dirty="0"/>
              <a:t>8 percent, or 245,000 units, in the Sacramento area</a:t>
            </a:r>
          </a:p>
          <a:p>
            <a:pPr marL="265376" indent="-265376">
              <a:buFont typeface="Wingdings" panose="05000000000000000000" pitchFamily="2" charset="2"/>
              <a:buChar char="§"/>
            </a:pPr>
            <a:r>
              <a:rPr lang="en-US" sz="1500" dirty="0"/>
              <a:t>30 percent, or 903,000 units, in the Los Angeles area</a:t>
            </a:r>
          </a:p>
          <a:p>
            <a:endParaRPr lang="en-US" baseline="0" dirty="0"/>
          </a:p>
          <a:p>
            <a:r>
              <a:rPr lang="en-US" baseline="0" dirty="0"/>
              <a:t>How did you get the TOD number?</a:t>
            </a:r>
          </a:p>
          <a:p>
            <a:pPr marL="265376" indent="-265376">
              <a:buFont typeface="Wingdings" panose="05000000000000000000" pitchFamily="2" charset="2"/>
              <a:buChar char="§"/>
            </a:pPr>
            <a:r>
              <a:rPr lang="en-US" baseline="0" dirty="0"/>
              <a:t>First, we identified light-rail, commuter rail, heavy rail, and commuter ferry terminals in the state.  We also included bus rapid transit (BRT) in Fresno, and the 12 planned CA high speed rail stations.  We excluded rail terminals in rural parts of the state where TOD is unlikely.  That gave us 1,095 transit stations to analyze.</a:t>
            </a:r>
          </a:p>
          <a:p>
            <a:pPr marL="265376" indent="-265376">
              <a:buFont typeface="Wingdings" panose="05000000000000000000" pitchFamily="2" charset="2"/>
              <a:buChar char="§"/>
            </a:pPr>
            <a:r>
              <a:rPr lang="en-US" baseline="0" dirty="0"/>
              <a:t>We then drew a half-mile radius around each transit station to create “transit-oriented housing” zone.  Within that half-mile radius, for every station, we mapped the current landscape, counted current units, and determined total developable land by excluding roads, parks, and other non-developable features.   </a:t>
            </a:r>
          </a:p>
          <a:p>
            <a:pPr marL="265376" indent="-265376">
              <a:buFont typeface="Wingdings" panose="05000000000000000000" pitchFamily="2" charset="2"/>
              <a:buChar char="§"/>
            </a:pPr>
            <a:r>
              <a:rPr lang="en-US" baseline="0" dirty="0"/>
              <a:t>We then calculated how many units could be added to developable land, through </a:t>
            </a:r>
            <a:r>
              <a:rPr lang="en-US" baseline="0" dirty="0" err="1"/>
              <a:t>upzoning</a:t>
            </a:r>
            <a:r>
              <a:rPr lang="en-US" baseline="0" dirty="0"/>
              <a:t>, with </a:t>
            </a:r>
            <a:r>
              <a:rPr lang="en-US" baseline="0" dirty="0" err="1"/>
              <a:t>upzoning</a:t>
            </a:r>
            <a:r>
              <a:rPr lang="en-US" baseline="0" dirty="0"/>
              <a:t> assumptions based on the current character and density of the place.   We estimated both a low case and a high case</a:t>
            </a:r>
          </a:p>
          <a:p>
            <a:pPr marL="265376" indent="-265376">
              <a:buFont typeface="Wingdings" panose="05000000000000000000" pitchFamily="2" charset="2"/>
              <a:buChar char="§"/>
            </a:pPr>
            <a:r>
              <a:rPr lang="en-US" b="0" i="1" baseline="0" dirty="0"/>
              <a:t>Low case: </a:t>
            </a:r>
            <a:r>
              <a:rPr lang="en-US" b="0" i="0" baseline="0" dirty="0"/>
              <a:t>Add 1 housing unit per net acre for every 100 existing units.  This is a conservative approach for adding density, which scales according to current density.</a:t>
            </a:r>
            <a:endParaRPr lang="en-US" b="0" i="1" baseline="0" dirty="0"/>
          </a:p>
          <a:p>
            <a:pPr marL="265376" indent="-265376">
              <a:buFont typeface="Wingdings" panose="05000000000000000000" pitchFamily="2" charset="2"/>
              <a:buChar char="§"/>
            </a:pPr>
            <a:r>
              <a:rPr lang="en-US" i="1" baseline="0" dirty="0"/>
              <a:t> High case:  </a:t>
            </a:r>
            <a:r>
              <a:rPr lang="en-US" baseline="0" dirty="0"/>
              <a:t>We segmented the station areas into 3 place types based on current use--suburban nodes, urban centers, and regional hubs—and assumed each station area “moves up” one tier.  So, suburban nodes become urban centers, and urban centers become regional hubs.  What does this look like?</a:t>
            </a:r>
          </a:p>
          <a:p>
            <a:pPr marL="374475" lvl="1" indent="-265376">
              <a:buFont typeface="Wingdings" panose="05000000000000000000" pitchFamily="2" charset="2"/>
              <a:buChar char="§"/>
            </a:pPr>
            <a:r>
              <a:rPr lang="en-US" sz="1500" i="1" dirty="0"/>
              <a:t>Suburban nodes </a:t>
            </a:r>
            <a:r>
              <a:rPr lang="en-US" sz="1500" dirty="0"/>
              <a:t>currently have fewer than 6.5 units per net acre.  Examples: Alameda Gateway Ferry Terminal, Lockheed Martin Transit Center in Sunnyvale, 4800 Tracy Boulevard in Tracy, or the Hanford Amtrak Station.  These would be developed to a density of ten units per acre, suggesting walkable, mixed-use villages of single-family and town house–style residences.</a:t>
            </a:r>
          </a:p>
          <a:p>
            <a:pPr marL="374475" lvl="1" indent="-265376">
              <a:buFont typeface="Wingdings" panose="05000000000000000000" pitchFamily="2" charset="2"/>
              <a:buChar char="§"/>
            </a:pPr>
            <a:r>
              <a:rPr lang="en-US" i="1" baseline="0" dirty="0"/>
              <a:t>Urban centers </a:t>
            </a:r>
            <a:r>
              <a:rPr lang="en-US" i="0" baseline="0" dirty="0"/>
              <a:t>have 6.5 to 15 units per net acre.  Examples: </a:t>
            </a:r>
            <a:r>
              <a:rPr lang="en-US" sz="1500" dirty="0"/>
              <a:t>Virginia Light Rail Station in San Jose, Firestone Metro Station in Los Angeles, and Kings Canyon-Chestnut Bus Rapid Transit Stop in Fresno. These would be developed to a density of 27 units per acre, suggesting two- to four-story buildings in town house or multifamily configurations, co-located with jobs centers and diverse street-level uses. </a:t>
            </a:r>
          </a:p>
          <a:p>
            <a:pPr marL="374475" lvl="1" indent="-265376">
              <a:buFont typeface="Wingdings" panose="05000000000000000000" pitchFamily="2" charset="2"/>
              <a:buChar char="§"/>
            </a:pPr>
            <a:r>
              <a:rPr lang="en-US" sz="1500" i="1" dirty="0"/>
              <a:t>Regional hubs </a:t>
            </a:r>
            <a:r>
              <a:rPr lang="en-US" sz="1500" dirty="0"/>
              <a:t>are major urban transit areas have more than 15 units per net acre.  Example: Wilshire and Vermont Metro Station in Los Angeles.  These would be developed to a high urban density of 70 units per acre.</a:t>
            </a:r>
          </a:p>
          <a:p>
            <a:endParaRPr lang="en-US" dirty="0"/>
          </a:p>
          <a:p>
            <a:endParaRPr lang="en-US" dirty="0"/>
          </a:p>
          <a:p>
            <a:r>
              <a:rPr lang="en-US" dirty="0"/>
              <a:t>Does</a:t>
            </a:r>
            <a:r>
              <a:rPr lang="en-US" baseline="0" dirty="0"/>
              <a:t> this double count levers like vacant urban land or under-utilized urban land?</a:t>
            </a:r>
          </a:p>
          <a:p>
            <a:pPr marL="265376" indent="-265376">
              <a:buFont typeface="Wingdings" panose="05000000000000000000" pitchFamily="2" charset="2"/>
              <a:buChar char="§"/>
            </a:pPr>
            <a:r>
              <a:rPr lang="en-US" baseline="0" dirty="0"/>
              <a:t>No—we subtracted those parcels out of the TOD analysis.</a:t>
            </a:r>
          </a:p>
          <a:p>
            <a:endParaRPr lang="en-US" baseline="0" dirty="0"/>
          </a:p>
          <a:p>
            <a:r>
              <a:rPr lang="en-US" baseline="0" dirty="0"/>
              <a:t>Which transit systems did you include?</a:t>
            </a:r>
          </a:p>
          <a:p>
            <a:r>
              <a:rPr lang="en-US" sz="1500" dirty="0"/>
              <a:t> </a:t>
            </a:r>
            <a:r>
              <a:rPr lang="en-US" sz="1500" dirty="0" err="1"/>
              <a:t>Caltrain</a:t>
            </a:r>
            <a:endParaRPr lang="en-US" sz="1500" dirty="0"/>
          </a:p>
          <a:p>
            <a:r>
              <a:rPr lang="en-US" sz="1500" dirty="0"/>
              <a:t> Altamont Corridor Express (ACE)</a:t>
            </a:r>
          </a:p>
          <a:p>
            <a:r>
              <a:rPr lang="en-US" sz="1500" dirty="0"/>
              <a:t> Coaster</a:t>
            </a:r>
          </a:p>
          <a:p>
            <a:r>
              <a:rPr lang="en-US" sz="1500" dirty="0"/>
              <a:t> </a:t>
            </a:r>
            <a:r>
              <a:rPr lang="en-US" sz="1500" dirty="0" err="1"/>
              <a:t>Metrolink</a:t>
            </a:r>
            <a:endParaRPr lang="en-US" sz="1500" dirty="0"/>
          </a:p>
          <a:p>
            <a:r>
              <a:rPr lang="en-US" sz="1500" dirty="0"/>
              <a:t> Amtrak</a:t>
            </a:r>
          </a:p>
          <a:p>
            <a:r>
              <a:rPr lang="en-US" sz="1500" dirty="0"/>
              <a:t> Bay Area Rapid Transit (BART)</a:t>
            </a:r>
          </a:p>
          <a:p>
            <a:r>
              <a:rPr lang="en-US" sz="1500" dirty="0"/>
              <a:t> San Francisco Muni Metro</a:t>
            </a:r>
          </a:p>
          <a:p>
            <a:r>
              <a:rPr lang="es-ES" sz="1500" dirty="0"/>
              <a:t> Metro Rail in Los </a:t>
            </a:r>
            <a:r>
              <a:rPr lang="es-ES" sz="1500" dirty="0" err="1"/>
              <a:t>Angeles</a:t>
            </a:r>
            <a:endParaRPr lang="es-ES" sz="1500" dirty="0"/>
          </a:p>
          <a:p>
            <a:r>
              <a:rPr lang="en-US" sz="1500" dirty="0"/>
              <a:t> Sacramento Regional Transit light rail</a:t>
            </a:r>
          </a:p>
          <a:p>
            <a:r>
              <a:rPr lang="en-US" sz="1500" dirty="0"/>
              <a:t> Sprinter</a:t>
            </a:r>
          </a:p>
          <a:p>
            <a:r>
              <a:rPr lang="en-US" sz="1500" dirty="0"/>
              <a:t> San Diego Trolley</a:t>
            </a:r>
          </a:p>
          <a:p>
            <a:r>
              <a:rPr lang="en-US" sz="1500" dirty="0"/>
              <a:t> Santa Clara </a:t>
            </a:r>
            <a:r>
              <a:rPr lang="en-US" sz="1500" dirty="0" err="1"/>
              <a:t>VTA</a:t>
            </a:r>
            <a:r>
              <a:rPr lang="en-US" sz="1500" dirty="0"/>
              <a:t> light rail</a:t>
            </a:r>
          </a:p>
          <a:p>
            <a:r>
              <a:rPr lang="en-US" sz="1500" dirty="0"/>
              <a:t> 12 proposed California high-speed rail stations</a:t>
            </a:r>
          </a:p>
          <a:p>
            <a:r>
              <a:rPr lang="en-US" sz="1500" dirty="0"/>
              <a:t> Ferry terminals in Bay Area </a:t>
            </a:r>
          </a:p>
          <a:p>
            <a:r>
              <a:rPr lang="en-US" sz="1500" dirty="0"/>
              <a:t> Planned Bus Rapid Transit (BRT) in Fresno</a:t>
            </a:r>
            <a:endParaRPr lang="en-US" dirty="0"/>
          </a:p>
        </p:txBody>
      </p:sp>
      <p:sp>
        <p:nvSpPr>
          <p:cNvPr id="4" name="Slide Number Placeholder 3"/>
          <p:cNvSpPr>
            <a:spLocks noGrp="1"/>
          </p:cNvSpPr>
          <p:nvPr>
            <p:ph type="sldNum" sz="quarter" idx="10"/>
          </p:nvPr>
        </p:nvSpPr>
        <p:spPr/>
        <p:txBody>
          <a:bodyPr/>
          <a:lstStyle/>
          <a:p>
            <a:pPr defTabSz="849203">
              <a:defRPr/>
            </a:pPr>
            <a:fld id="{3C3A632B-FBDE-46D4-BF6F-6D14421E6342}" type="slidenum">
              <a:rPr lang="en-US">
                <a:solidFill>
                  <a:srgbClr val="000000"/>
                </a:solidFill>
              </a:rPr>
              <a:pPr defTabSz="849203">
                <a:defRPr/>
              </a:pPr>
              <a:t>9</a:t>
            </a:fld>
            <a:endParaRPr lang="en-US" dirty="0">
              <a:solidFill>
                <a:srgbClr val="000000"/>
              </a:solidFill>
            </a:endParaRPr>
          </a:p>
        </p:txBody>
      </p:sp>
    </p:spTree>
    <p:extLst>
      <p:ext uri="{BB962C8B-B14F-4D97-AF65-F5344CB8AC3E}">
        <p14:creationId xmlns:p14="http://schemas.microsoft.com/office/powerpoint/2010/main" val="4978777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3.xml"/><Relationship Id="rId7" Type="http://schemas.openxmlformats.org/officeDocument/2006/relationships/image" Target="../media/image10.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97650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9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D5C2A10-7C93-4D0A-A8C6-C3B754CE61ED}"/>
              </a:ext>
            </a:extLst>
          </p:cNvPr>
          <p:cNvPicPr>
            <a:picLocks noChangeAspect="1"/>
          </p:cNvPicPr>
          <p:nvPr userDrawn="1"/>
        </p:nvPicPr>
        <p:blipFill>
          <a:blip r:embed="rId6"/>
          <a:stretch>
            <a:fillRect/>
          </a:stretch>
        </p:blipFill>
        <p:spPr>
          <a:xfrm>
            <a:off x="-1" y="2258"/>
            <a:ext cx="11949113" cy="6716957"/>
          </a:xfrm>
          <a:prstGeom prst="rect">
            <a:avLst/>
          </a:prstGeom>
        </p:spPr>
      </p:pic>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
        <p:nvSpPr>
          <p:cNvPr id="16" name="Title">
            <a:extLst>
              <a:ext uri="{FF2B5EF4-FFF2-40B4-BE49-F238E27FC236}">
                <a16:creationId xmlns:a16="http://schemas.microsoft.com/office/drawing/2014/main" id="{4D8E9C57-1ACA-4F91-8957-1C2E01639FB2}"/>
              </a:ext>
            </a:extLst>
          </p:cNvPr>
          <p:cNvSpPr>
            <a:spLocks noGrp="1" noChangeArrowheads="1"/>
          </p:cNvSpPr>
          <p:nvPr>
            <p:ph type="ctrTitle"/>
          </p:nvPr>
        </p:nvSpPr>
        <p:spPr bwMode="gray">
          <a:xfrm>
            <a:off x="1819930" y="4580652"/>
            <a:ext cx="8309252" cy="492443"/>
          </a:xfrm>
          <a:prstGeom prst="rect">
            <a:avLst/>
          </a:prstGeom>
        </p:spPr>
        <p:txBody>
          <a:bodyPr/>
          <a:lstStyle>
            <a:lvl1pPr algn="ctr" rtl="0" fontAlgn="base">
              <a:spcBef>
                <a:spcPct val="0"/>
              </a:spcBef>
              <a:spcAft>
                <a:spcPct val="0"/>
              </a:spcAft>
              <a:defRPr lang="en-US" sz="3200" b="1" kern="1200" noProof="0" dirty="0">
                <a:solidFill>
                  <a:srgbClr val="0454A4"/>
                </a:solidFill>
                <a:latin typeface="Gotham"/>
                <a:ea typeface="+mn-ea"/>
                <a:cs typeface="Gotham"/>
              </a:defRPr>
            </a:lvl1pPr>
          </a:lstStyle>
          <a:p>
            <a:pPr lvl="0" latinLnBrk="0"/>
            <a:r>
              <a:rPr lang="en-US" noProof="0" dirty="0"/>
              <a:t>Click to edit Master title style</a:t>
            </a:r>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57A97D2-F60A-41B7-9906-AC61249FF633}"/>
              </a:ext>
            </a:extLst>
          </p:cNvPr>
          <p:cNvGraphicFramePr>
            <a:graphicFrameLocks noChangeAspect="1"/>
          </p:cNvGraphicFramePr>
          <p:nvPr userDrawn="1">
            <p:custDataLst>
              <p:tags r:id="rId2"/>
            </p:custDataLst>
            <p:extLst>
              <p:ext uri="{D42A27DB-BD31-4B8C-83A1-F6EECF244321}">
                <p14:modId xmlns:p14="http://schemas.microsoft.com/office/powerpoint/2010/main" val="597985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02"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dirty="0"/>
              <a:t>Click to edit Master title style</a:t>
            </a:r>
          </a:p>
        </p:txBody>
      </p:sp>
      <p:sp>
        <p:nvSpPr>
          <p:cNvPr id="8" name="Slide Number"/>
          <p:cNvSpPr txBox="1">
            <a:spLocks/>
          </p:cNvSpPr>
          <p:nvPr userDrawn="1"/>
        </p:nvSpPr>
        <p:spPr bwMode="gray">
          <a:xfrm>
            <a:off x="11590186"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pic>
        <p:nvPicPr>
          <p:cNvPr id="3" name="Picture 2">
            <a:extLst>
              <a:ext uri="{FF2B5EF4-FFF2-40B4-BE49-F238E27FC236}">
                <a16:creationId xmlns:a16="http://schemas.microsoft.com/office/drawing/2014/main" id="{8227DFF8-E808-4E56-A27B-81DEE5FDD6FC}"/>
              </a:ext>
            </a:extLst>
          </p:cNvPr>
          <p:cNvPicPr>
            <a:picLocks noChangeAspect="1"/>
          </p:cNvPicPr>
          <p:nvPr userDrawn="1"/>
        </p:nvPicPr>
        <p:blipFill rotWithShape="1">
          <a:blip r:embed="rId6"/>
          <a:srcRect l="40952" t="2190" r="44646" b="1870"/>
          <a:stretch/>
        </p:blipFill>
        <p:spPr>
          <a:xfrm>
            <a:off x="411480" y="1315720"/>
            <a:ext cx="60960" cy="4561840"/>
          </a:xfrm>
          <a:prstGeom prst="rect">
            <a:avLst/>
          </a:prstGeom>
        </p:spPr>
      </p:pic>
      <p:pic>
        <p:nvPicPr>
          <p:cNvPr id="7" name="Picture 6">
            <a:extLst>
              <a:ext uri="{FF2B5EF4-FFF2-40B4-BE49-F238E27FC236}">
                <a16:creationId xmlns:a16="http://schemas.microsoft.com/office/drawing/2014/main" id="{FC3F797C-DD39-4975-83A7-3614A9A1EC50}"/>
              </a:ext>
            </a:extLst>
          </p:cNvPr>
          <p:cNvPicPr>
            <a:picLocks noChangeAspect="1"/>
          </p:cNvPicPr>
          <p:nvPr userDrawn="1"/>
        </p:nvPicPr>
        <p:blipFill>
          <a:blip r:embed="rId7"/>
          <a:stretch>
            <a:fillRect/>
          </a:stretch>
        </p:blipFill>
        <p:spPr>
          <a:xfrm>
            <a:off x="10445675" y="50802"/>
            <a:ext cx="985609" cy="985609"/>
          </a:xfrm>
          <a:prstGeom prst="rect">
            <a:avLst/>
          </a:prstGeom>
        </p:spPr>
      </p:pic>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762EC1-6152-46C9-82B6-9FB5618B0F65}"/>
              </a:ext>
            </a:extLst>
          </p:cNvPr>
          <p:cNvGraphicFramePr>
            <a:graphicFrameLocks noChangeAspect="1"/>
          </p:cNvGraphicFramePr>
          <p:nvPr userDrawn="1">
            <p:custDataLst>
              <p:tags r:id="rId2"/>
            </p:custDataLst>
            <p:extLst>
              <p:ext uri="{D42A27DB-BD31-4B8C-83A1-F6EECF244321}">
                <p14:modId xmlns:p14="http://schemas.microsoft.com/office/powerpoint/2010/main" val="32865910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18" name="think-cell Slide" r:id="rId4" imgW="370" imgH="371" progId="TCLayout.ActiveDocument.1">
                  <p:embed/>
                </p:oleObj>
              </mc:Choice>
              <mc:Fallback>
                <p:oleObj name="think-cell Slide" r:id="rId4" imgW="370" imgH="37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5" name="doc id"/>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000552610"/>
      </p:ext>
    </p:extLst>
  </p:cSld>
  <p:clrMapOvr>
    <a:masterClrMapping/>
  </p:clrMapOvr>
  <p:extLst mod="1">
    <p:ext uri="{DCECCB84-F9BA-43D5-87BE-67443E8EF086}">
      <p15:sldGuideLst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6889127"/>
              </p:ext>
            </p:extLst>
          </p:nvPr>
        </p:nvGraphicFramePr>
        <p:xfrm>
          <a:off x="2121" y="1589"/>
          <a:ext cx="2116" cy="1586"/>
        </p:xfrm>
        <a:graphic>
          <a:graphicData uri="http://schemas.openxmlformats.org/presentationml/2006/ole">
            <mc:AlternateContent xmlns:mc="http://schemas.openxmlformats.org/markup-compatibility/2006">
              <mc:Choice xmlns:v="urn:schemas-microsoft-com:vml" Requires="v">
                <p:oleObj spid="_x0000_s118846"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21" y="1589"/>
                        <a:ext cx="2116" cy="1586"/>
                      </a:xfrm>
                      <a:prstGeom prst="rect">
                        <a:avLst/>
                      </a:prstGeom>
                    </p:spPr>
                  </p:pic>
                </p:oleObj>
              </mc:Fallback>
            </mc:AlternateContent>
          </a:graphicData>
        </a:graphic>
      </p:graphicFrame>
      <p:sp>
        <p:nvSpPr>
          <p:cNvPr id="4" name="Working Draft Text"/>
          <p:cNvSpPr txBox="1">
            <a:spLocks noChangeArrowheads="1"/>
          </p:cNvSpPr>
          <p:nvPr/>
        </p:nvSpPr>
        <p:spPr bwMode="auto">
          <a:xfrm>
            <a:off x="3520176" y="342903"/>
            <a:ext cx="993862"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a:latin typeface="+mn-lt"/>
              </a:rPr>
              <a:t>WORKING DRAFT</a:t>
            </a:r>
          </a:p>
        </p:txBody>
      </p:sp>
      <p:sp>
        <p:nvSpPr>
          <p:cNvPr id="5" name="doc id"/>
          <p:cNvSpPr txBox="1">
            <a:spLocks noChangeArrowheads="1"/>
          </p:cNvSpPr>
          <p:nvPr/>
        </p:nvSpPr>
        <p:spPr bwMode="auto">
          <a:xfrm>
            <a:off x="11256933" y="36514"/>
            <a:ext cx="393717"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noProof="0" dirty="0">
              <a:latin typeface="+mn-lt"/>
            </a:endParaRPr>
          </a:p>
        </p:txBody>
      </p:sp>
      <p:sp>
        <p:nvSpPr>
          <p:cNvPr id="6" name="Working Draft"/>
          <p:cNvSpPr txBox="1">
            <a:spLocks noChangeArrowheads="1"/>
          </p:cNvSpPr>
          <p:nvPr/>
        </p:nvSpPr>
        <p:spPr bwMode="auto">
          <a:xfrm>
            <a:off x="3520173" y="498478"/>
            <a:ext cx="321883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latin typeface="+mn-lt"/>
              </a:rPr>
              <a:t>Last Modified 16/03/2018 8:25 a.m. SA Pacific Standard Time</a:t>
            </a:r>
            <a:endParaRPr lang="en-US" sz="900" baseline="0" noProof="0" dirty="0">
              <a:latin typeface="+mn-lt"/>
            </a:endParaRPr>
          </a:p>
        </p:txBody>
      </p:sp>
      <p:sp>
        <p:nvSpPr>
          <p:cNvPr id="7" name="Printed"/>
          <p:cNvSpPr txBox="1">
            <a:spLocks noChangeArrowheads="1"/>
          </p:cNvSpPr>
          <p:nvPr/>
        </p:nvSpPr>
        <p:spPr bwMode="auto">
          <a:xfrm>
            <a:off x="3520174" y="655642"/>
            <a:ext cx="283410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latin typeface="+mn-lt"/>
              </a:rPr>
              <a:t>Printed 16/03/2018 7:48 a.m. SA Pacific Standard Time</a:t>
            </a:r>
            <a:endParaRPr lang="en-US" sz="900" baseline="0" noProof="0" dirty="0">
              <a:latin typeface="+mn-lt"/>
            </a:endParaRPr>
          </a:p>
        </p:txBody>
      </p:sp>
      <p:grpSp>
        <p:nvGrpSpPr>
          <p:cNvPr id="8" name="Title Elements"/>
          <p:cNvGrpSpPr>
            <a:grpSpLocks/>
          </p:cNvGrpSpPr>
          <p:nvPr/>
        </p:nvGrpSpPr>
        <p:grpSpPr bwMode="auto">
          <a:xfrm>
            <a:off x="4" y="3"/>
            <a:ext cx="11944879" cy="6723063"/>
            <a:chOff x="0" y="0"/>
            <a:chExt cx="5643" cy="4235"/>
          </a:xfrm>
        </p:grpSpPr>
        <p:sp>
          <p:nvSpPr>
            <p:cNvPr id="9" name="Title Elements"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ocument type</a:t>
              </a:r>
            </a:p>
          </p:txBody>
        </p:sp>
        <p:sp>
          <p:nvSpPr>
            <p:cNvPr id="10" name="Title Elements"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ate</a:t>
              </a:r>
            </a:p>
          </p:txBody>
        </p:sp>
        <p:sp>
          <p:nvSpPr>
            <p:cNvPr id="11" name="Title Elements" hidden="1"/>
            <p:cNvSpPr>
              <a:spLocks noChangeArrowheads="1"/>
            </p:cNvSpPr>
            <p:nvPr/>
          </p:nvSpPr>
          <p:spPr bwMode="auto">
            <a:xfrm>
              <a:off x="1663" y="3713"/>
              <a:ext cx="3226"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04803" eaLnBrk="0" hangingPunct="0"/>
              <a:r>
                <a:rPr lang="en-US" sz="800" baseline="0" noProof="0" dirty="0">
                  <a:latin typeface="+mn-lt"/>
                </a:rPr>
                <a:t>CONFIDENTIAL AND PROPRIETARY</a:t>
              </a:r>
            </a:p>
            <a:p>
              <a:pPr defTabSz="804803" eaLnBrk="0" hangingPunct="0"/>
              <a:r>
                <a:rPr lang="en-US" sz="800" baseline="0" noProof="0" dirty="0">
                  <a:latin typeface="+mn-lt"/>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baseline="0" noProof="0" dirty="0">
                <a:latin typeface="+mn-lt"/>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baseline="0" noProof="0" dirty="0">
                <a:latin typeface="+mn-lt"/>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baseline="0" noProof="0" dirty="0">
                <a:latin typeface="+mn-lt"/>
              </a:endParaRPr>
            </a:p>
          </p:txBody>
        </p:sp>
      </p:grpSp>
      <p:sp>
        <p:nvSpPr>
          <p:cNvPr id="16" name="Rectangle 1134"/>
          <p:cNvSpPr>
            <a:spLocks noChangeArrowheads="1"/>
          </p:cNvSpPr>
          <p:nvPr>
            <p:custDataLst>
              <p:tags r:id="rId3"/>
            </p:custDataLst>
          </p:nvPr>
        </p:nvSpPr>
        <p:spPr bwMode="gray">
          <a:xfrm>
            <a:off x="2923247" y="6305552"/>
            <a:ext cx="9023749" cy="420688"/>
          </a:xfrm>
          <a:prstGeom prst="rect">
            <a:avLst/>
          </a:prstGeom>
          <a:solidFill>
            <a:srgbClr val="00296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baseline="0" noProof="0" dirty="0">
              <a:latin typeface="+mn-lt"/>
            </a:endParaRPr>
          </a:p>
        </p:txBody>
      </p:sp>
      <p:pic>
        <p:nvPicPr>
          <p:cNvPr id="17" name="Picture 119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563523" y="6448425"/>
            <a:ext cx="2165445" cy="179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 name="TitleBottomBarBW" hidden="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565644" y="6443664"/>
            <a:ext cx="2182379" cy="1920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3520174" y="2133601"/>
            <a:ext cx="6581007" cy="492443"/>
          </a:xfrm>
          <a:prstGeom prst="rect">
            <a:avLst/>
          </a:prstGeom>
        </p:spPr>
        <p:txBody>
          <a:bodyPr/>
          <a:lstStyle>
            <a:lvl1pPr>
              <a:defRPr sz="32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3520174" y="3867152"/>
            <a:ext cx="6581007"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922816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789785751"/>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88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pic>
        <p:nvPicPr>
          <p:cNvPr id="3" name="Picture 2">
            <a:extLst>
              <a:ext uri="{FF2B5EF4-FFF2-40B4-BE49-F238E27FC236}">
                <a16:creationId xmlns:a16="http://schemas.microsoft.com/office/drawing/2014/main" id="{A03241DD-ABCF-48D4-A5A4-7BEE5F384EA6}"/>
              </a:ext>
            </a:extLst>
          </p:cNvPr>
          <p:cNvPicPr>
            <a:picLocks noChangeAspect="1"/>
          </p:cNvPicPr>
          <p:nvPr userDrawn="1"/>
        </p:nvPicPr>
        <p:blipFill>
          <a:blip r:embed="rId26"/>
          <a:stretch>
            <a:fillRect/>
          </a:stretch>
        </p:blipFill>
        <p:spPr>
          <a:xfrm>
            <a:off x="280" y="-1"/>
            <a:ext cx="11948551" cy="6721475"/>
          </a:xfrm>
          <a:prstGeom prst="rect">
            <a:avLst/>
          </a:prstGeom>
        </p:spPr>
      </p:pic>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p:cNvSpPr txBox="1">
            <a:spLocks noChangeArrowheads="1"/>
          </p:cNvSpPr>
          <p:nvPr/>
        </p:nvSpPr>
        <p:spPr bwMode="gray">
          <a:xfrm rot="5400000">
            <a:off x="10779559" y="1940592"/>
            <a:ext cx="215283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a:solidFill>
                  <a:schemeClr val="accent6"/>
                </a:solidFill>
                <a:latin typeface="+mn-lt"/>
                <a:ea typeface="+mn-ea"/>
              </a:rPr>
              <a:t>Last Modified 16/03/2018 8:25 a.m. SA Pacific Standard Time</a:t>
            </a:r>
            <a:endParaRPr lang="en-US" sz="600" baseline="0" noProof="0" dirty="0">
              <a:solidFill>
                <a:schemeClr val="accent6"/>
              </a:solidFill>
              <a:latin typeface="+mn-lt"/>
              <a:ea typeface="+mn-ea"/>
            </a:endParaRPr>
          </a:p>
        </p:txBody>
      </p:sp>
      <p:sp>
        <p:nvSpPr>
          <p:cNvPr id="1035" name="Printed"/>
          <p:cNvSpPr txBox="1">
            <a:spLocks noChangeArrowheads="1"/>
          </p:cNvSpPr>
          <p:nvPr/>
        </p:nvSpPr>
        <p:spPr bwMode="gray">
          <a:xfrm rot="5400000">
            <a:off x="10908602" y="4114418"/>
            <a:ext cx="189474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a:solidFill>
                  <a:schemeClr val="accent6"/>
                </a:solidFill>
                <a:latin typeface="+mn-lt"/>
                <a:ea typeface="+mn-ea"/>
              </a:rPr>
              <a:t>Printed 16/03/2018 7:48 a.m. SA Pacific Standard Time</a:t>
            </a:r>
            <a:endParaRPr lang="en-US" sz="600"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739140" y="353603"/>
            <a:ext cx="1040175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739140"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739140" y="743804"/>
            <a:ext cx="104015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589449" y="6305945"/>
            <a:ext cx="9128886"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McKSticker" hidden="1"/>
          <p:cNvGrpSpPr/>
          <p:nvPr userDrawn="1"/>
        </p:nvGrpSpPr>
        <p:grpSpPr bwMode="gray">
          <a:xfrm>
            <a:off x="11294391" y="806034"/>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pic>
        <p:nvPicPr>
          <p:cNvPr id="4" name="Picture 3">
            <a:extLst>
              <a:ext uri="{FF2B5EF4-FFF2-40B4-BE49-F238E27FC236}">
                <a16:creationId xmlns:a16="http://schemas.microsoft.com/office/drawing/2014/main" id="{84436E3D-FCF9-4B87-9F96-1A7C4574512E}"/>
              </a:ext>
            </a:extLst>
          </p:cNvPr>
          <p:cNvPicPr>
            <a:picLocks noChangeAspect="1"/>
          </p:cNvPicPr>
          <p:nvPr userDrawn="1"/>
        </p:nvPicPr>
        <p:blipFill rotWithShape="1">
          <a:blip r:embed="rId27"/>
          <a:srcRect l="10275" t="11166" r="9562" b="16802"/>
          <a:stretch/>
        </p:blipFill>
        <p:spPr>
          <a:xfrm>
            <a:off x="9982356" y="6000804"/>
            <a:ext cx="1450370" cy="678180"/>
          </a:xfrm>
          <a:prstGeom prst="rect">
            <a:avLst/>
          </a:prstGeom>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6" r:id="rId3"/>
    <p:sldLayoutId id="2147483667" r:id="rId4"/>
  </p:sldLayoutIdLst>
  <p:hf hdr="0" ftr="0" dt="0"/>
  <p:txStyles>
    <p:titleStyle>
      <a:lvl1pPr algn="l" defTabSz="1193860" rtl="0" eaLnBrk="1" fontAlgn="base" hangingPunct="1">
        <a:spcBef>
          <a:spcPct val="0"/>
        </a:spcBef>
        <a:spcAft>
          <a:spcPct val="0"/>
        </a:spcAft>
        <a:tabLst>
          <a:tab pos="359851" algn="l"/>
        </a:tabLst>
        <a:defRPr lang="en-US" sz="2000" b="1" kern="1200" baseline="0" noProof="0" dirty="0">
          <a:solidFill>
            <a:srgbClr val="0454A4"/>
          </a:solidFill>
          <a:latin typeface="Gotham"/>
          <a:ea typeface="+mn-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tags" Target="../tags/tag188.xml"/><Relationship Id="rId39" Type="http://schemas.openxmlformats.org/officeDocument/2006/relationships/oleObject" Target="../embeddings/oleObject18.bin"/><Relationship Id="rId21" Type="http://schemas.openxmlformats.org/officeDocument/2006/relationships/tags" Target="../tags/tag183.xml"/><Relationship Id="rId34" Type="http://schemas.openxmlformats.org/officeDocument/2006/relationships/notesSlide" Target="../notesSlides/notesSlide10.xml"/><Relationship Id="rId42" Type="http://schemas.openxmlformats.org/officeDocument/2006/relationships/image" Target="../media/image25.emf"/><Relationship Id="rId7" Type="http://schemas.openxmlformats.org/officeDocument/2006/relationships/tags" Target="../tags/tag169.xml"/><Relationship Id="rId2" Type="http://schemas.openxmlformats.org/officeDocument/2006/relationships/tags" Target="../tags/tag164.xml"/><Relationship Id="rId16" Type="http://schemas.openxmlformats.org/officeDocument/2006/relationships/tags" Target="../tags/tag178.xml"/><Relationship Id="rId29" Type="http://schemas.openxmlformats.org/officeDocument/2006/relationships/tags" Target="../tags/tag191.xml"/><Relationship Id="rId1" Type="http://schemas.openxmlformats.org/officeDocument/2006/relationships/vmlDrawing" Target="../drawings/vmlDrawing14.v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tags" Target="../tags/tag186.xml"/><Relationship Id="rId32" Type="http://schemas.openxmlformats.org/officeDocument/2006/relationships/tags" Target="../tags/tag194.xml"/><Relationship Id="rId37" Type="http://schemas.openxmlformats.org/officeDocument/2006/relationships/oleObject" Target="../embeddings/oleObject17.bin"/><Relationship Id="rId40" Type="http://schemas.openxmlformats.org/officeDocument/2006/relationships/image" Target="../media/image24.emf"/><Relationship Id="rId45" Type="http://schemas.openxmlformats.org/officeDocument/2006/relationships/image" Target="../media/image27.png"/><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tags" Target="../tags/tag185.xml"/><Relationship Id="rId28" Type="http://schemas.openxmlformats.org/officeDocument/2006/relationships/tags" Target="../tags/tag190.xml"/><Relationship Id="rId36" Type="http://schemas.openxmlformats.org/officeDocument/2006/relationships/image" Target="../media/image4.emf"/><Relationship Id="rId10" Type="http://schemas.openxmlformats.org/officeDocument/2006/relationships/tags" Target="../tags/tag172.xml"/><Relationship Id="rId19" Type="http://schemas.openxmlformats.org/officeDocument/2006/relationships/tags" Target="../tags/tag181.xml"/><Relationship Id="rId31" Type="http://schemas.openxmlformats.org/officeDocument/2006/relationships/tags" Target="../tags/tag193.xml"/><Relationship Id="rId44" Type="http://schemas.openxmlformats.org/officeDocument/2006/relationships/image" Target="../media/image26.emf"/><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tags" Target="../tags/tag184.xml"/><Relationship Id="rId27" Type="http://schemas.openxmlformats.org/officeDocument/2006/relationships/tags" Target="../tags/tag189.xml"/><Relationship Id="rId30" Type="http://schemas.openxmlformats.org/officeDocument/2006/relationships/tags" Target="../tags/tag192.xml"/><Relationship Id="rId35" Type="http://schemas.openxmlformats.org/officeDocument/2006/relationships/oleObject" Target="../embeddings/oleObject16.bin"/><Relationship Id="rId43" Type="http://schemas.openxmlformats.org/officeDocument/2006/relationships/oleObject" Target="../embeddings/oleObject20.bin"/><Relationship Id="rId8" Type="http://schemas.openxmlformats.org/officeDocument/2006/relationships/tags" Target="../tags/tag170.xml"/><Relationship Id="rId3" Type="http://schemas.openxmlformats.org/officeDocument/2006/relationships/tags" Target="../tags/tag165.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tags" Target="../tags/tag187.xml"/><Relationship Id="rId33" Type="http://schemas.openxmlformats.org/officeDocument/2006/relationships/slideLayout" Target="../slideLayouts/slideLayout2.xml"/><Relationship Id="rId38" Type="http://schemas.openxmlformats.org/officeDocument/2006/relationships/image" Target="../media/image23.emf"/><Relationship Id="rId20" Type="http://schemas.openxmlformats.org/officeDocument/2006/relationships/tags" Target="../tags/tag182.xml"/><Relationship Id="rId41"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8" Type="http://schemas.openxmlformats.org/officeDocument/2006/relationships/hyperlink" Target="http://www.whataboutpeace.com/2013_08_01_archive.html" TargetMode="External"/><Relationship Id="rId3" Type="http://schemas.openxmlformats.org/officeDocument/2006/relationships/slideLayout" Target="../slideLayouts/slideLayout2.xml"/><Relationship Id="rId7" Type="http://schemas.openxmlformats.org/officeDocument/2006/relationships/image" Target="../media/image29.jpg"/><Relationship Id="rId2" Type="http://schemas.openxmlformats.org/officeDocument/2006/relationships/tags" Target="../tags/tag195.xml"/><Relationship Id="rId1" Type="http://schemas.openxmlformats.org/officeDocument/2006/relationships/vmlDrawing" Target="../drawings/vmlDrawing15.vml"/><Relationship Id="rId6" Type="http://schemas.openxmlformats.org/officeDocument/2006/relationships/image" Target="../media/image28.emf"/><Relationship Id="rId5" Type="http://schemas.openxmlformats.org/officeDocument/2006/relationships/oleObject" Target="../embeddings/oleObject21.bin"/><Relationship Id="rId4" Type="http://schemas.openxmlformats.org/officeDocument/2006/relationships/notesSlide" Target="../notesSlides/notesSlide11.xml"/><Relationship Id="rId9" Type="http://schemas.openxmlformats.org/officeDocument/2006/relationships/hyperlink" Target="https://creativecommons.org/licenses/by-nc/3.0/" TargetMode="Externa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13" Type="http://schemas.openxmlformats.org/officeDocument/2006/relationships/image" Target="../media/image33.png"/><Relationship Id="rId3" Type="http://schemas.openxmlformats.org/officeDocument/2006/relationships/tags" Target="../tags/tag197.xml"/><Relationship Id="rId7" Type="http://schemas.openxmlformats.org/officeDocument/2006/relationships/slideLayout" Target="../slideLayouts/slideLayout2.xml"/><Relationship Id="rId12" Type="http://schemas.openxmlformats.org/officeDocument/2006/relationships/image" Target="../media/image32.png"/><Relationship Id="rId2" Type="http://schemas.openxmlformats.org/officeDocument/2006/relationships/tags" Target="../tags/tag196.xml"/><Relationship Id="rId16" Type="http://schemas.openxmlformats.org/officeDocument/2006/relationships/image" Target="../media/image35.jpeg"/><Relationship Id="rId1" Type="http://schemas.openxmlformats.org/officeDocument/2006/relationships/vmlDrawing" Target="../drawings/vmlDrawing16.vml"/><Relationship Id="rId6" Type="http://schemas.openxmlformats.org/officeDocument/2006/relationships/tags" Target="../tags/tag200.xml"/><Relationship Id="rId11" Type="http://schemas.openxmlformats.org/officeDocument/2006/relationships/image" Target="../media/image31.jpeg"/><Relationship Id="rId5" Type="http://schemas.openxmlformats.org/officeDocument/2006/relationships/tags" Target="../tags/tag199.xml"/><Relationship Id="rId15" Type="http://schemas.microsoft.com/office/2007/relationships/hdphoto" Target="../media/hdphoto3.wdp"/><Relationship Id="rId10" Type="http://schemas.openxmlformats.org/officeDocument/2006/relationships/image" Target="../media/image30.emf"/><Relationship Id="rId4" Type="http://schemas.openxmlformats.org/officeDocument/2006/relationships/tags" Target="../tags/tag198.xml"/><Relationship Id="rId9" Type="http://schemas.openxmlformats.org/officeDocument/2006/relationships/oleObject" Target="../embeddings/oleObject22.bin"/><Relationship Id="rId14" Type="http://schemas.openxmlformats.org/officeDocument/2006/relationships/image" Target="../media/image34.png"/></Relationships>
</file>

<file path=ppt/slides/_rels/slide13.xml.rels><?xml version="1.0" encoding="UTF-8" standalone="yes"?>
<Relationships xmlns="http://schemas.openxmlformats.org/package/2006/relationships"><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tags" Target="../tags/tag225.xml"/><Relationship Id="rId39" Type="http://schemas.openxmlformats.org/officeDocument/2006/relationships/oleObject" Target="../embeddings/oleObject26.bin"/><Relationship Id="rId21" Type="http://schemas.openxmlformats.org/officeDocument/2006/relationships/tags" Target="../tags/tag220.xml"/><Relationship Id="rId34" Type="http://schemas.openxmlformats.org/officeDocument/2006/relationships/image" Target="../media/image14.emf"/><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tags" Target="../tags/tag224.xml"/><Relationship Id="rId33" Type="http://schemas.openxmlformats.org/officeDocument/2006/relationships/oleObject" Target="../embeddings/oleObject23.bin"/><Relationship Id="rId38" Type="http://schemas.openxmlformats.org/officeDocument/2006/relationships/image" Target="../media/image37.emf"/><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29" Type="http://schemas.openxmlformats.org/officeDocument/2006/relationships/tags" Target="../tags/tag228.xml"/><Relationship Id="rId1" Type="http://schemas.openxmlformats.org/officeDocument/2006/relationships/vmlDrawing" Target="../drawings/vmlDrawing17.v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tags" Target="../tags/tag223.xml"/><Relationship Id="rId32" Type="http://schemas.openxmlformats.org/officeDocument/2006/relationships/notesSlide" Target="../notesSlides/notesSlide13.xml"/><Relationship Id="rId37" Type="http://schemas.openxmlformats.org/officeDocument/2006/relationships/oleObject" Target="../embeddings/oleObject25.bin"/><Relationship Id="rId40" Type="http://schemas.openxmlformats.org/officeDocument/2006/relationships/image" Target="../media/image38.emf"/><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tags" Target="../tags/tag227.xml"/><Relationship Id="rId36" Type="http://schemas.openxmlformats.org/officeDocument/2006/relationships/image" Target="../media/image36.emf"/><Relationship Id="rId10" Type="http://schemas.openxmlformats.org/officeDocument/2006/relationships/tags" Target="../tags/tag209.xml"/><Relationship Id="rId19" Type="http://schemas.openxmlformats.org/officeDocument/2006/relationships/tags" Target="../tags/tag218.xml"/><Relationship Id="rId31" Type="http://schemas.openxmlformats.org/officeDocument/2006/relationships/slideLayout" Target="../slideLayouts/slideLayout2.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tags" Target="../tags/tag226.xml"/><Relationship Id="rId30" Type="http://schemas.openxmlformats.org/officeDocument/2006/relationships/tags" Target="../tags/tag229.xml"/><Relationship Id="rId35" Type="http://schemas.openxmlformats.org/officeDocument/2006/relationships/oleObject" Target="../embeddings/oleObject24.bin"/><Relationship Id="rId8" Type="http://schemas.openxmlformats.org/officeDocument/2006/relationships/tags" Target="../tags/tag207.xml"/><Relationship Id="rId3" Type="http://schemas.openxmlformats.org/officeDocument/2006/relationships/tags" Target="../tags/tag20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tags" Target="../tags/tag233.xml"/><Relationship Id="rId7" Type="http://schemas.openxmlformats.org/officeDocument/2006/relationships/oleObject" Target="../embeddings/oleObject27.bin"/><Relationship Id="rId2" Type="http://schemas.openxmlformats.org/officeDocument/2006/relationships/tags" Target="../tags/tag232.xml"/><Relationship Id="rId1" Type="http://schemas.openxmlformats.org/officeDocument/2006/relationships/vmlDrawing" Target="../drawings/vmlDrawing18.v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234.xml"/><Relationship Id="rId9" Type="http://schemas.openxmlformats.org/officeDocument/2006/relationships/image" Target="../media/image42.jpeg"/></Relationships>
</file>

<file path=ppt/slides/_rels/slide16.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slideLayout" Target="../slideLayouts/slideLayout2.xml"/><Relationship Id="rId18" Type="http://schemas.openxmlformats.org/officeDocument/2006/relationships/image" Target="../media/image44.emf"/><Relationship Id="rId3" Type="http://schemas.openxmlformats.org/officeDocument/2006/relationships/tags" Target="../tags/tag236.xml"/><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oleObject" Target="../embeddings/oleObject29.bin"/><Relationship Id="rId2" Type="http://schemas.openxmlformats.org/officeDocument/2006/relationships/tags" Target="../tags/tag235.xml"/><Relationship Id="rId16" Type="http://schemas.openxmlformats.org/officeDocument/2006/relationships/image" Target="../media/image43.emf"/><Relationship Id="rId1" Type="http://schemas.openxmlformats.org/officeDocument/2006/relationships/vmlDrawing" Target="../drawings/vmlDrawing19.vml"/><Relationship Id="rId6" Type="http://schemas.openxmlformats.org/officeDocument/2006/relationships/tags" Target="../tags/tag239.xml"/><Relationship Id="rId11" Type="http://schemas.openxmlformats.org/officeDocument/2006/relationships/tags" Target="../tags/tag244.xml"/><Relationship Id="rId5" Type="http://schemas.openxmlformats.org/officeDocument/2006/relationships/tags" Target="../tags/tag238.xml"/><Relationship Id="rId15" Type="http://schemas.openxmlformats.org/officeDocument/2006/relationships/oleObject" Target="../embeddings/oleObject28.bin"/><Relationship Id="rId10" Type="http://schemas.openxmlformats.org/officeDocument/2006/relationships/tags" Target="../tags/tag243.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6.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26" Type="http://schemas.openxmlformats.org/officeDocument/2006/relationships/tags" Target="../tags/tag271.xml"/><Relationship Id="rId21" Type="http://schemas.openxmlformats.org/officeDocument/2006/relationships/tags" Target="../tags/tag266.xml"/><Relationship Id="rId42" Type="http://schemas.openxmlformats.org/officeDocument/2006/relationships/tags" Target="../tags/tag287.xml"/><Relationship Id="rId47" Type="http://schemas.openxmlformats.org/officeDocument/2006/relationships/tags" Target="../tags/tag292.xml"/><Relationship Id="rId63" Type="http://schemas.openxmlformats.org/officeDocument/2006/relationships/slideLayout" Target="../slideLayouts/slideLayout2.xml"/><Relationship Id="rId68" Type="http://schemas.microsoft.com/office/2007/relationships/hdphoto" Target="../media/hdphoto4.wdp"/><Relationship Id="rId7" Type="http://schemas.openxmlformats.org/officeDocument/2006/relationships/tags" Target="../tags/tag252.xml"/><Relationship Id="rId71" Type="http://schemas.openxmlformats.org/officeDocument/2006/relationships/oleObject" Target="../embeddings/oleObject33.bin"/><Relationship Id="rId2" Type="http://schemas.openxmlformats.org/officeDocument/2006/relationships/tags" Target="../tags/tag247.xml"/><Relationship Id="rId16" Type="http://schemas.openxmlformats.org/officeDocument/2006/relationships/tags" Target="../tags/tag261.xml"/><Relationship Id="rId29" Type="http://schemas.openxmlformats.org/officeDocument/2006/relationships/tags" Target="../tags/tag274.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tags" Target="../tags/tag277.xml"/><Relationship Id="rId37" Type="http://schemas.openxmlformats.org/officeDocument/2006/relationships/tags" Target="../tags/tag282.xml"/><Relationship Id="rId40" Type="http://schemas.openxmlformats.org/officeDocument/2006/relationships/tags" Target="../tags/tag285.xml"/><Relationship Id="rId45" Type="http://schemas.openxmlformats.org/officeDocument/2006/relationships/tags" Target="../tags/tag290.xml"/><Relationship Id="rId53" Type="http://schemas.openxmlformats.org/officeDocument/2006/relationships/tags" Target="../tags/tag298.xml"/><Relationship Id="rId58" Type="http://schemas.openxmlformats.org/officeDocument/2006/relationships/tags" Target="../tags/tag303.xml"/><Relationship Id="rId66" Type="http://schemas.openxmlformats.org/officeDocument/2006/relationships/image" Target="../media/image30.emf"/><Relationship Id="rId5" Type="http://schemas.openxmlformats.org/officeDocument/2006/relationships/tags" Target="../tags/tag250.xml"/><Relationship Id="rId61" Type="http://schemas.openxmlformats.org/officeDocument/2006/relationships/tags" Target="../tags/tag306.xml"/><Relationship Id="rId19" Type="http://schemas.openxmlformats.org/officeDocument/2006/relationships/tags" Target="../tags/tag26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tags" Target="../tags/tag280.xml"/><Relationship Id="rId43" Type="http://schemas.openxmlformats.org/officeDocument/2006/relationships/tags" Target="../tags/tag288.xml"/><Relationship Id="rId48" Type="http://schemas.openxmlformats.org/officeDocument/2006/relationships/tags" Target="../tags/tag293.xml"/><Relationship Id="rId56" Type="http://schemas.openxmlformats.org/officeDocument/2006/relationships/tags" Target="../tags/tag301.xml"/><Relationship Id="rId64" Type="http://schemas.openxmlformats.org/officeDocument/2006/relationships/notesSlide" Target="../notesSlides/notesSlide18.xml"/><Relationship Id="rId69" Type="http://schemas.openxmlformats.org/officeDocument/2006/relationships/oleObject" Target="../embeddings/oleObject32.bin"/><Relationship Id="rId8" Type="http://schemas.openxmlformats.org/officeDocument/2006/relationships/tags" Target="../tags/tag253.xml"/><Relationship Id="rId51" Type="http://schemas.openxmlformats.org/officeDocument/2006/relationships/tags" Target="../tags/tag296.xml"/><Relationship Id="rId72" Type="http://schemas.openxmlformats.org/officeDocument/2006/relationships/image" Target="../media/image46.emf"/><Relationship Id="rId3" Type="http://schemas.openxmlformats.org/officeDocument/2006/relationships/tags" Target="../tags/tag248.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tags" Target="../tags/tag278.xml"/><Relationship Id="rId38" Type="http://schemas.openxmlformats.org/officeDocument/2006/relationships/tags" Target="../tags/tag283.xml"/><Relationship Id="rId46" Type="http://schemas.openxmlformats.org/officeDocument/2006/relationships/tags" Target="../tags/tag291.xml"/><Relationship Id="rId59" Type="http://schemas.openxmlformats.org/officeDocument/2006/relationships/tags" Target="../tags/tag304.xml"/><Relationship Id="rId67" Type="http://schemas.openxmlformats.org/officeDocument/2006/relationships/image" Target="../media/image47.png"/><Relationship Id="rId20" Type="http://schemas.openxmlformats.org/officeDocument/2006/relationships/tags" Target="../tags/tag265.xml"/><Relationship Id="rId41" Type="http://schemas.openxmlformats.org/officeDocument/2006/relationships/tags" Target="../tags/tag286.xml"/><Relationship Id="rId54" Type="http://schemas.openxmlformats.org/officeDocument/2006/relationships/tags" Target="../tags/tag299.xml"/><Relationship Id="rId62" Type="http://schemas.openxmlformats.org/officeDocument/2006/relationships/tags" Target="../tags/tag307.xml"/><Relationship Id="rId70" Type="http://schemas.openxmlformats.org/officeDocument/2006/relationships/image" Target="../media/image45.emf"/><Relationship Id="rId1" Type="http://schemas.openxmlformats.org/officeDocument/2006/relationships/vmlDrawing" Target="../drawings/vmlDrawing21.vml"/><Relationship Id="rId6" Type="http://schemas.openxmlformats.org/officeDocument/2006/relationships/tags" Target="../tags/tag251.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tags" Target="../tags/tag281.xml"/><Relationship Id="rId49" Type="http://schemas.openxmlformats.org/officeDocument/2006/relationships/tags" Target="../tags/tag294.xml"/><Relationship Id="rId57" Type="http://schemas.openxmlformats.org/officeDocument/2006/relationships/tags" Target="../tags/tag302.xml"/><Relationship Id="rId10" Type="http://schemas.openxmlformats.org/officeDocument/2006/relationships/tags" Target="../tags/tag255.xml"/><Relationship Id="rId31" Type="http://schemas.openxmlformats.org/officeDocument/2006/relationships/tags" Target="../tags/tag276.xml"/><Relationship Id="rId44" Type="http://schemas.openxmlformats.org/officeDocument/2006/relationships/tags" Target="../tags/tag289.xml"/><Relationship Id="rId52" Type="http://schemas.openxmlformats.org/officeDocument/2006/relationships/tags" Target="../tags/tag297.xml"/><Relationship Id="rId60" Type="http://schemas.openxmlformats.org/officeDocument/2006/relationships/tags" Target="../tags/tag305.xml"/><Relationship Id="rId65" Type="http://schemas.openxmlformats.org/officeDocument/2006/relationships/oleObject" Target="../embeddings/oleObject31.bin"/><Relationship Id="rId4" Type="http://schemas.openxmlformats.org/officeDocument/2006/relationships/tags" Target="../tags/tag249.xml"/><Relationship Id="rId9" Type="http://schemas.openxmlformats.org/officeDocument/2006/relationships/tags" Target="../tags/tag254.xml"/><Relationship Id="rId13" Type="http://schemas.openxmlformats.org/officeDocument/2006/relationships/tags" Target="../tags/tag258.xml"/><Relationship Id="rId18" Type="http://schemas.openxmlformats.org/officeDocument/2006/relationships/tags" Target="../tags/tag263.xml"/><Relationship Id="rId39" Type="http://schemas.openxmlformats.org/officeDocument/2006/relationships/tags" Target="../tags/tag284.xml"/><Relationship Id="rId34" Type="http://schemas.openxmlformats.org/officeDocument/2006/relationships/tags" Target="../tags/tag279.xml"/><Relationship Id="rId50" Type="http://schemas.openxmlformats.org/officeDocument/2006/relationships/tags" Target="../tags/tag295.xml"/><Relationship Id="rId55" Type="http://schemas.openxmlformats.org/officeDocument/2006/relationships/tags" Target="../tags/tag300.xml"/></Relationships>
</file>

<file path=ppt/slides/_rels/slide19.xml.rels><?xml version="1.0" encoding="UTF-8" standalone="yes"?>
<Relationships xmlns="http://schemas.openxmlformats.org/package/2006/relationships"><Relationship Id="rId26" Type="http://schemas.openxmlformats.org/officeDocument/2006/relationships/tags" Target="../tags/tag332.xml"/><Relationship Id="rId21" Type="http://schemas.openxmlformats.org/officeDocument/2006/relationships/tags" Target="../tags/tag327.xml"/><Relationship Id="rId42" Type="http://schemas.openxmlformats.org/officeDocument/2006/relationships/tags" Target="../tags/tag348.xml"/><Relationship Id="rId47" Type="http://schemas.openxmlformats.org/officeDocument/2006/relationships/tags" Target="../tags/tag353.xml"/><Relationship Id="rId63" Type="http://schemas.openxmlformats.org/officeDocument/2006/relationships/tags" Target="../tags/tag369.xml"/><Relationship Id="rId68" Type="http://schemas.openxmlformats.org/officeDocument/2006/relationships/oleObject" Target="../embeddings/oleObject34.bin"/><Relationship Id="rId2" Type="http://schemas.openxmlformats.org/officeDocument/2006/relationships/tags" Target="../tags/tag308.xml"/><Relationship Id="rId16" Type="http://schemas.openxmlformats.org/officeDocument/2006/relationships/tags" Target="../tags/tag322.xml"/><Relationship Id="rId29" Type="http://schemas.openxmlformats.org/officeDocument/2006/relationships/tags" Target="../tags/tag335.xml"/><Relationship Id="rId11" Type="http://schemas.openxmlformats.org/officeDocument/2006/relationships/tags" Target="../tags/tag317.xml"/><Relationship Id="rId24" Type="http://schemas.openxmlformats.org/officeDocument/2006/relationships/tags" Target="../tags/tag330.xml"/><Relationship Id="rId32" Type="http://schemas.openxmlformats.org/officeDocument/2006/relationships/tags" Target="../tags/tag338.xml"/><Relationship Id="rId37" Type="http://schemas.openxmlformats.org/officeDocument/2006/relationships/tags" Target="../tags/tag343.xml"/><Relationship Id="rId40" Type="http://schemas.openxmlformats.org/officeDocument/2006/relationships/tags" Target="../tags/tag346.xml"/><Relationship Id="rId45" Type="http://schemas.openxmlformats.org/officeDocument/2006/relationships/tags" Target="../tags/tag351.xml"/><Relationship Id="rId53" Type="http://schemas.openxmlformats.org/officeDocument/2006/relationships/tags" Target="../tags/tag359.xml"/><Relationship Id="rId58" Type="http://schemas.openxmlformats.org/officeDocument/2006/relationships/tags" Target="../tags/tag364.xml"/><Relationship Id="rId66" Type="http://schemas.openxmlformats.org/officeDocument/2006/relationships/slideLayout" Target="../slideLayouts/slideLayout2.xml"/><Relationship Id="rId74" Type="http://schemas.openxmlformats.org/officeDocument/2006/relationships/oleObject" Target="../embeddings/oleObject36.bin"/><Relationship Id="rId5" Type="http://schemas.openxmlformats.org/officeDocument/2006/relationships/tags" Target="../tags/tag311.xml"/><Relationship Id="rId61" Type="http://schemas.openxmlformats.org/officeDocument/2006/relationships/tags" Target="../tags/tag367.xml"/><Relationship Id="rId19" Type="http://schemas.openxmlformats.org/officeDocument/2006/relationships/tags" Target="../tags/tag325.xml"/><Relationship Id="rId14" Type="http://schemas.openxmlformats.org/officeDocument/2006/relationships/tags" Target="../tags/tag320.xml"/><Relationship Id="rId22" Type="http://schemas.openxmlformats.org/officeDocument/2006/relationships/tags" Target="../tags/tag328.xml"/><Relationship Id="rId27" Type="http://schemas.openxmlformats.org/officeDocument/2006/relationships/tags" Target="../tags/tag333.xml"/><Relationship Id="rId30" Type="http://schemas.openxmlformats.org/officeDocument/2006/relationships/tags" Target="../tags/tag336.xml"/><Relationship Id="rId35" Type="http://schemas.openxmlformats.org/officeDocument/2006/relationships/tags" Target="../tags/tag341.xml"/><Relationship Id="rId43" Type="http://schemas.openxmlformats.org/officeDocument/2006/relationships/tags" Target="../tags/tag349.xml"/><Relationship Id="rId48" Type="http://schemas.openxmlformats.org/officeDocument/2006/relationships/tags" Target="../tags/tag354.xml"/><Relationship Id="rId56" Type="http://schemas.openxmlformats.org/officeDocument/2006/relationships/tags" Target="../tags/tag362.xml"/><Relationship Id="rId64" Type="http://schemas.openxmlformats.org/officeDocument/2006/relationships/tags" Target="../tags/tag370.xml"/><Relationship Id="rId69" Type="http://schemas.openxmlformats.org/officeDocument/2006/relationships/image" Target="../media/image30.emf"/><Relationship Id="rId8" Type="http://schemas.openxmlformats.org/officeDocument/2006/relationships/tags" Target="../tags/tag314.xml"/><Relationship Id="rId51" Type="http://schemas.openxmlformats.org/officeDocument/2006/relationships/tags" Target="../tags/tag357.xml"/><Relationship Id="rId72" Type="http://schemas.openxmlformats.org/officeDocument/2006/relationships/oleObject" Target="../embeddings/oleObject35.bin"/><Relationship Id="rId3" Type="http://schemas.openxmlformats.org/officeDocument/2006/relationships/tags" Target="../tags/tag309.xml"/><Relationship Id="rId12" Type="http://schemas.openxmlformats.org/officeDocument/2006/relationships/tags" Target="../tags/tag318.xml"/><Relationship Id="rId17" Type="http://schemas.openxmlformats.org/officeDocument/2006/relationships/tags" Target="../tags/tag323.xml"/><Relationship Id="rId25" Type="http://schemas.openxmlformats.org/officeDocument/2006/relationships/tags" Target="../tags/tag331.xml"/><Relationship Id="rId33" Type="http://schemas.openxmlformats.org/officeDocument/2006/relationships/tags" Target="../tags/tag339.xml"/><Relationship Id="rId38" Type="http://schemas.openxmlformats.org/officeDocument/2006/relationships/tags" Target="../tags/tag344.xml"/><Relationship Id="rId46" Type="http://schemas.openxmlformats.org/officeDocument/2006/relationships/tags" Target="../tags/tag352.xml"/><Relationship Id="rId59" Type="http://schemas.openxmlformats.org/officeDocument/2006/relationships/tags" Target="../tags/tag365.xml"/><Relationship Id="rId67" Type="http://schemas.openxmlformats.org/officeDocument/2006/relationships/notesSlide" Target="../notesSlides/notesSlide19.xml"/><Relationship Id="rId20" Type="http://schemas.openxmlformats.org/officeDocument/2006/relationships/tags" Target="../tags/tag326.xml"/><Relationship Id="rId41" Type="http://schemas.openxmlformats.org/officeDocument/2006/relationships/tags" Target="../tags/tag347.xml"/><Relationship Id="rId54" Type="http://schemas.openxmlformats.org/officeDocument/2006/relationships/tags" Target="../tags/tag360.xml"/><Relationship Id="rId62" Type="http://schemas.openxmlformats.org/officeDocument/2006/relationships/tags" Target="../tags/tag368.xml"/><Relationship Id="rId70" Type="http://schemas.openxmlformats.org/officeDocument/2006/relationships/image" Target="../media/image50.png"/><Relationship Id="rId75" Type="http://schemas.openxmlformats.org/officeDocument/2006/relationships/image" Target="../media/image49.emf"/><Relationship Id="rId1" Type="http://schemas.openxmlformats.org/officeDocument/2006/relationships/vmlDrawing" Target="../drawings/vmlDrawing22.vml"/><Relationship Id="rId6" Type="http://schemas.openxmlformats.org/officeDocument/2006/relationships/tags" Target="../tags/tag312.xml"/><Relationship Id="rId15" Type="http://schemas.openxmlformats.org/officeDocument/2006/relationships/tags" Target="../tags/tag321.xml"/><Relationship Id="rId23" Type="http://schemas.openxmlformats.org/officeDocument/2006/relationships/tags" Target="../tags/tag329.xml"/><Relationship Id="rId28" Type="http://schemas.openxmlformats.org/officeDocument/2006/relationships/tags" Target="../tags/tag334.xml"/><Relationship Id="rId36" Type="http://schemas.openxmlformats.org/officeDocument/2006/relationships/tags" Target="../tags/tag342.xml"/><Relationship Id="rId49" Type="http://schemas.openxmlformats.org/officeDocument/2006/relationships/tags" Target="../tags/tag355.xml"/><Relationship Id="rId57" Type="http://schemas.openxmlformats.org/officeDocument/2006/relationships/tags" Target="../tags/tag363.xml"/><Relationship Id="rId10" Type="http://schemas.openxmlformats.org/officeDocument/2006/relationships/tags" Target="../tags/tag316.xml"/><Relationship Id="rId31" Type="http://schemas.openxmlformats.org/officeDocument/2006/relationships/tags" Target="../tags/tag337.xml"/><Relationship Id="rId44" Type="http://schemas.openxmlformats.org/officeDocument/2006/relationships/tags" Target="../tags/tag350.xml"/><Relationship Id="rId52" Type="http://schemas.openxmlformats.org/officeDocument/2006/relationships/tags" Target="../tags/tag358.xml"/><Relationship Id="rId60" Type="http://schemas.openxmlformats.org/officeDocument/2006/relationships/tags" Target="../tags/tag366.xml"/><Relationship Id="rId65" Type="http://schemas.openxmlformats.org/officeDocument/2006/relationships/tags" Target="../tags/tag371.xml"/><Relationship Id="rId73" Type="http://schemas.openxmlformats.org/officeDocument/2006/relationships/image" Target="../media/image48.emf"/><Relationship Id="rId4" Type="http://schemas.openxmlformats.org/officeDocument/2006/relationships/tags" Target="../tags/tag310.xml"/><Relationship Id="rId9" Type="http://schemas.openxmlformats.org/officeDocument/2006/relationships/tags" Target="../tags/tag315.xml"/><Relationship Id="rId13" Type="http://schemas.openxmlformats.org/officeDocument/2006/relationships/tags" Target="../tags/tag319.xml"/><Relationship Id="rId18" Type="http://schemas.openxmlformats.org/officeDocument/2006/relationships/tags" Target="../tags/tag324.xml"/><Relationship Id="rId39" Type="http://schemas.openxmlformats.org/officeDocument/2006/relationships/tags" Target="../tags/tag345.xml"/><Relationship Id="rId34" Type="http://schemas.openxmlformats.org/officeDocument/2006/relationships/tags" Target="../tags/tag340.xml"/><Relationship Id="rId50" Type="http://schemas.openxmlformats.org/officeDocument/2006/relationships/tags" Target="../tags/tag356.xml"/><Relationship Id="rId55" Type="http://schemas.openxmlformats.org/officeDocument/2006/relationships/tags" Target="../tags/tag361.xml"/><Relationship Id="rId7" Type="http://schemas.openxmlformats.org/officeDocument/2006/relationships/tags" Target="../tags/tag313.xml"/><Relationship Id="rId71" Type="http://schemas.microsoft.com/office/2007/relationships/hdphoto" Target="../media/hdphoto5.wdp"/></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2.xml"/><Relationship Id="rId1" Type="http://schemas.openxmlformats.org/officeDocument/2006/relationships/vmlDrawing" Target="../drawings/vmlDrawing23.vml"/><Relationship Id="rId6" Type="http://schemas.openxmlformats.org/officeDocument/2006/relationships/image" Target="../media/image14.emf"/><Relationship Id="rId5" Type="http://schemas.openxmlformats.org/officeDocument/2006/relationships/oleObject" Target="../embeddings/oleObject37.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png"/><Relationship Id="rId3" Type="http://schemas.openxmlformats.org/officeDocument/2006/relationships/slideLayout" Target="../slideLayouts/slideLayout2.xml"/><Relationship Id="rId7" Type="http://schemas.openxmlformats.org/officeDocument/2006/relationships/image" Target="../media/image52.png"/><Relationship Id="rId12" Type="http://schemas.openxmlformats.org/officeDocument/2006/relationships/image" Target="../media/image57.jpeg"/><Relationship Id="rId17" Type="http://schemas.openxmlformats.org/officeDocument/2006/relationships/image" Target="../media/image62.png"/><Relationship Id="rId2" Type="http://schemas.openxmlformats.org/officeDocument/2006/relationships/tags" Target="../tags/tag373.xml"/><Relationship Id="rId16" Type="http://schemas.openxmlformats.org/officeDocument/2006/relationships/image" Target="../media/image61.png"/><Relationship Id="rId1" Type="http://schemas.openxmlformats.org/officeDocument/2006/relationships/vmlDrawing" Target="../drawings/vmlDrawing24.v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oleObject" Target="../embeddings/oleObject38.bin"/><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notesSlide" Target="../notesSlides/notesSlide21.xml"/><Relationship Id="rId9" Type="http://schemas.openxmlformats.org/officeDocument/2006/relationships/image" Target="../media/image54.jpeg"/><Relationship Id="rId14" Type="http://schemas.openxmlformats.org/officeDocument/2006/relationships/image" Target="../media/image59.png"/></Relationships>
</file>

<file path=ppt/slides/_rels/slide3.xml.rels><?xml version="1.0" encoding="UTF-8" standalone="yes"?>
<Relationships xmlns="http://schemas.openxmlformats.org/package/2006/relationships"><Relationship Id="rId13" Type="http://schemas.openxmlformats.org/officeDocument/2006/relationships/tags" Target="../tags/tag36.xml"/><Relationship Id="rId18" Type="http://schemas.openxmlformats.org/officeDocument/2006/relationships/tags" Target="../tags/tag41.xml"/><Relationship Id="rId26" Type="http://schemas.openxmlformats.org/officeDocument/2006/relationships/tags" Target="../tags/tag49.xml"/><Relationship Id="rId3" Type="http://schemas.openxmlformats.org/officeDocument/2006/relationships/tags" Target="../tags/tag26.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5" Type="http://schemas.openxmlformats.org/officeDocument/2006/relationships/tags" Target="../tags/tag48.xml"/><Relationship Id="rId33" Type="http://schemas.openxmlformats.org/officeDocument/2006/relationships/image" Target="../media/image15.emf"/><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tags" Target="../tags/tag43.xml"/><Relationship Id="rId29" Type="http://schemas.openxmlformats.org/officeDocument/2006/relationships/notesSlide" Target="../notesSlides/notesSlide3.xml"/><Relationship Id="rId1" Type="http://schemas.openxmlformats.org/officeDocument/2006/relationships/vmlDrawing" Target="../drawings/vmlDrawing7.vml"/><Relationship Id="rId6" Type="http://schemas.openxmlformats.org/officeDocument/2006/relationships/tags" Target="../tags/tag29.xml"/><Relationship Id="rId11" Type="http://schemas.openxmlformats.org/officeDocument/2006/relationships/tags" Target="../tags/tag34.xml"/><Relationship Id="rId24" Type="http://schemas.openxmlformats.org/officeDocument/2006/relationships/tags" Target="../tags/tag47.xml"/><Relationship Id="rId32" Type="http://schemas.openxmlformats.org/officeDocument/2006/relationships/oleObject" Target="../embeddings/oleObject8.bin"/><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tags" Target="../tags/tag46.xml"/><Relationship Id="rId28" Type="http://schemas.openxmlformats.org/officeDocument/2006/relationships/slideLayout" Target="../slideLayouts/slideLayout2.xml"/><Relationship Id="rId10" Type="http://schemas.openxmlformats.org/officeDocument/2006/relationships/tags" Target="../tags/tag33.xml"/><Relationship Id="rId19" Type="http://schemas.openxmlformats.org/officeDocument/2006/relationships/tags" Target="../tags/tag42.xml"/><Relationship Id="rId31" Type="http://schemas.openxmlformats.org/officeDocument/2006/relationships/image" Target="../media/image14.emf"/><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tags" Target="../tags/tag45.xml"/><Relationship Id="rId27" Type="http://schemas.openxmlformats.org/officeDocument/2006/relationships/tags" Target="../tags/tag50.xml"/><Relationship Id="rId30" Type="http://schemas.openxmlformats.org/officeDocument/2006/relationships/oleObject" Target="../embeddings/oleObject7.bin"/><Relationship Id="rId8" Type="http://schemas.openxmlformats.org/officeDocument/2006/relationships/tags" Target="../tags/tag31.xml"/></Relationships>
</file>

<file path=ppt/slides/_rels/slide4.xml.rels><?xml version="1.0" encoding="UTF-8" standalone="yes"?>
<Relationships xmlns="http://schemas.openxmlformats.org/package/2006/relationships"><Relationship Id="rId26" Type="http://schemas.openxmlformats.org/officeDocument/2006/relationships/tags" Target="../tags/tag75.xml"/><Relationship Id="rId21" Type="http://schemas.openxmlformats.org/officeDocument/2006/relationships/tags" Target="../tags/tag70.xml"/><Relationship Id="rId42" Type="http://schemas.openxmlformats.org/officeDocument/2006/relationships/tags" Target="../tags/tag91.xml"/><Relationship Id="rId47" Type="http://schemas.openxmlformats.org/officeDocument/2006/relationships/tags" Target="../tags/tag96.xml"/><Relationship Id="rId63" Type="http://schemas.openxmlformats.org/officeDocument/2006/relationships/tags" Target="../tags/tag112.xml"/><Relationship Id="rId68" Type="http://schemas.openxmlformats.org/officeDocument/2006/relationships/tags" Target="../tags/tag117.xml"/><Relationship Id="rId84" Type="http://schemas.openxmlformats.org/officeDocument/2006/relationships/tags" Target="../tags/tag133.xml"/><Relationship Id="rId89" Type="http://schemas.openxmlformats.org/officeDocument/2006/relationships/tags" Target="../tags/tag138.xml"/><Relationship Id="rId16" Type="http://schemas.openxmlformats.org/officeDocument/2006/relationships/tags" Target="../tags/tag65.xml"/><Relationship Id="rId107" Type="http://schemas.openxmlformats.org/officeDocument/2006/relationships/image" Target="../media/image16.emf"/><Relationship Id="rId11" Type="http://schemas.openxmlformats.org/officeDocument/2006/relationships/tags" Target="../tags/tag60.xml"/><Relationship Id="rId32" Type="http://schemas.openxmlformats.org/officeDocument/2006/relationships/tags" Target="../tags/tag81.xml"/><Relationship Id="rId37" Type="http://schemas.openxmlformats.org/officeDocument/2006/relationships/tags" Target="../tags/tag86.xml"/><Relationship Id="rId53" Type="http://schemas.openxmlformats.org/officeDocument/2006/relationships/tags" Target="../tags/tag102.xml"/><Relationship Id="rId58" Type="http://schemas.openxmlformats.org/officeDocument/2006/relationships/tags" Target="../tags/tag107.xml"/><Relationship Id="rId74" Type="http://schemas.openxmlformats.org/officeDocument/2006/relationships/tags" Target="../tags/tag123.xml"/><Relationship Id="rId79" Type="http://schemas.openxmlformats.org/officeDocument/2006/relationships/tags" Target="../tags/tag128.xml"/><Relationship Id="rId102" Type="http://schemas.openxmlformats.org/officeDocument/2006/relationships/oleObject" Target="../embeddings/oleObject9.bin"/><Relationship Id="rId5" Type="http://schemas.openxmlformats.org/officeDocument/2006/relationships/tags" Target="../tags/tag54.xml"/><Relationship Id="rId90" Type="http://schemas.openxmlformats.org/officeDocument/2006/relationships/tags" Target="../tags/tag139.xml"/><Relationship Id="rId95" Type="http://schemas.openxmlformats.org/officeDocument/2006/relationships/tags" Target="../tags/tag144.xml"/><Relationship Id="rId22" Type="http://schemas.openxmlformats.org/officeDocument/2006/relationships/tags" Target="../tags/tag71.xml"/><Relationship Id="rId27" Type="http://schemas.openxmlformats.org/officeDocument/2006/relationships/tags" Target="../tags/tag76.xml"/><Relationship Id="rId43" Type="http://schemas.openxmlformats.org/officeDocument/2006/relationships/tags" Target="../tags/tag92.xml"/><Relationship Id="rId48" Type="http://schemas.openxmlformats.org/officeDocument/2006/relationships/tags" Target="../tags/tag97.xml"/><Relationship Id="rId64" Type="http://schemas.openxmlformats.org/officeDocument/2006/relationships/tags" Target="../tags/tag113.xml"/><Relationship Id="rId69" Type="http://schemas.openxmlformats.org/officeDocument/2006/relationships/tags" Target="../tags/tag118.xml"/><Relationship Id="rId80" Type="http://schemas.openxmlformats.org/officeDocument/2006/relationships/tags" Target="../tags/tag129.xml"/><Relationship Id="rId85" Type="http://schemas.openxmlformats.org/officeDocument/2006/relationships/tags" Target="../tags/tag134.xml"/><Relationship Id="rId12" Type="http://schemas.openxmlformats.org/officeDocument/2006/relationships/tags" Target="../tags/tag61.xml"/><Relationship Id="rId17" Type="http://schemas.openxmlformats.org/officeDocument/2006/relationships/tags" Target="../tags/tag66.xml"/><Relationship Id="rId33" Type="http://schemas.openxmlformats.org/officeDocument/2006/relationships/tags" Target="../tags/tag82.xml"/><Relationship Id="rId38" Type="http://schemas.openxmlformats.org/officeDocument/2006/relationships/tags" Target="../tags/tag87.xml"/><Relationship Id="rId59" Type="http://schemas.openxmlformats.org/officeDocument/2006/relationships/tags" Target="../tags/tag108.xml"/><Relationship Id="rId103" Type="http://schemas.openxmlformats.org/officeDocument/2006/relationships/image" Target="../media/image14.emf"/><Relationship Id="rId20" Type="http://schemas.openxmlformats.org/officeDocument/2006/relationships/tags" Target="../tags/tag69.xml"/><Relationship Id="rId41" Type="http://schemas.openxmlformats.org/officeDocument/2006/relationships/tags" Target="../tags/tag90.xml"/><Relationship Id="rId54" Type="http://schemas.openxmlformats.org/officeDocument/2006/relationships/tags" Target="../tags/tag103.xml"/><Relationship Id="rId62" Type="http://schemas.openxmlformats.org/officeDocument/2006/relationships/tags" Target="../tags/tag111.xml"/><Relationship Id="rId70" Type="http://schemas.openxmlformats.org/officeDocument/2006/relationships/tags" Target="../tags/tag119.xml"/><Relationship Id="rId75" Type="http://schemas.openxmlformats.org/officeDocument/2006/relationships/tags" Target="../tags/tag124.xml"/><Relationship Id="rId83" Type="http://schemas.openxmlformats.org/officeDocument/2006/relationships/tags" Target="../tags/tag132.xml"/><Relationship Id="rId88" Type="http://schemas.openxmlformats.org/officeDocument/2006/relationships/tags" Target="../tags/tag137.xml"/><Relationship Id="rId91" Type="http://schemas.openxmlformats.org/officeDocument/2006/relationships/tags" Target="../tags/tag140.xml"/><Relationship Id="rId96" Type="http://schemas.openxmlformats.org/officeDocument/2006/relationships/tags" Target="../tags/tag145.xml"/><Relationship Id="rId1" Type="http://schemas.openxmlformats.org/officeDocument/2006/relationships/vmlDrawing" Target="../drawings/vmlDrawing8.vml"/><Relationship Id="rId6" Type="http://schemas.openxmlformats.org/officeDocument/2006/relationships/tags" Target="../tags/tag55.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49" Type="http://schemas.openxmlformats.org/officeDocument/2006/relationships/tags" Target="../tags/tag98.xml"/><Relationship Id="rId57" Type="http://schemas.openxmlformats.org/officeDocument/2006/relationships/tags" Target="../tags/tag106.xml"/><Relationship Id="rId106" Type="http://schemas.openxmlformats.org/officeDocument/2006/relationships/oleObject" Target="../embeddings/oleObject10.bin"/><Relationship Id="rId10" Type="http://schemas.openxmlformats.org/officeDocument/2006/relationships/tags" Target="../tags/tag59.xml"/><Relationship Id="rId31" Type="http://schemas.openxmlformats.org/officeDocument/2006/relationships/tags" Target="../tags/tag80.xml"/><Relationship Id="rId44" Type="http://schemas.openxmlformats.org/officeDocument/2006/relationships/tags" Target="../tags/tag93.xml"/><Relationship Id="rId52" Type="http://schemas.openxmlformats.org/officeDocument/2006/relationships/tags" Target="../tags/tag101.xml"/><Relationship Id="rId60" Type="http://schemas.openxmlformats.org/officeDocument/2006/relationships/tags" Target="../tags/tag109.xml"/><Relationship Id="rId65" Type="http://schemas.openxmlformats.org/officeDocument/2006/relationships/tags" Target="../tags/tag114.xml"/><Relationship Id="rId73" Type="http://schemas.openxmlformats.org/officeDocument/2006/relationships/tags" Target="../tags/tag122.xml"/><Relationship Id="rId78" Type="http://schemas.openxmlformats.org/officeDocument/2006/relationships/tags" Target="../tags/tag127.xml"/><Relationship Id="rId81" Type="http://schemas.openxmlformats.org/officeDocument/2006/relationships/tags" Target="../tags/tag130.xml"/><Relationship Id="rId86" Type="http://schemas.openxmlformats.org/officeDocument/2006/relationships/tags" Target="../tags/tag135.xml"/><Relationship Id="rId94" Type="http://schemas.openxmlformats.org/officeDocument/2006/relationships/tags" Target="../tags/tag143.xml"/><Relationship Id="rId99" Type="http://schemas.openxmlformats.org/officeDocument/2006/relationships/tags" Target="../tags/tag148.xml"/><Relationship Id="rId101" Type="http://schemas.openxmlformats.org/officeDocument/2006/relationships/notesSlide" Target="../notesSlides/notesSlide4.xml"/><Relationship Id="rId4" Type="http://schemas.openxmlformats.org/officeDocument/2006/relationships/tags" Target="../tags/tag53.xml"/><Relationship Id="rId9" Type="http://schemas.openxmlformats.org/officeDocument/2006/relationships/tags" Target="../tags/tag58.xml"/><Relationship Id="rId13" Type="http://schemas.openxmlformats.org/officeDocument/2006/relationships/tags" Target="../tags/tag62.xml"/><Relationship Id="rId18" Type="http://schemas.openxmlformats.org/officeDocument/2006/relationships/tags" Target="../tags/tag67.xml"/><Relationship Id="rId39" Type="http://schemas.openxmlformats.org/officeDocument/2006/relationships/tags" Target="../tags/tag88.xml"/><Relationship Id="rId34" Type="http://schemas.openxmlformats.org/officeDocument/2006/relationships/tags" Target="../tags/tag83.xml"/><Relationship Id="rId50" Type="http://schemas.openxmlformats.org/officeDocument/2006/relationships/tags" Target="../tags/tag99.xml"/><Relationship Id="rId55" Type="http://schemas.openxmlformats.org/officeDocument/2006/relationships/tags" Target="../tags/tag104.xml"/><Relationship Id="rId76" Type="http://schemas.openxmlformats.org/officeDocument/2006/relationships/tags" Target="../tags/tag125.xml"/><Relationship Id="rId97" Type="http://schemas.openxmlformats.org/officeDocument/2006/relationships/tags" Target="../tags/tag146.xml"/><Relationship Id="rId104" Type="http://schemas.openxmlformats.org/officeDocument/2006/relationships/image" Target="../media/image17.png"/><Relationship Id="rId7" Type="http://schemas.openxmlformats.org/officeDocument/2006/relationships/tags" Target="../tags/tag56.xml"/><Relationship Id="rId71" Type="http://schemas.openxmlformats.org/officeDocument/2006/relationships/tags" Target="../tags/tag120.xml"/><Relationship Id="rId92" Type="http://schemas.openxmlformats.org/officeDocument/2006/relationships/tags" Target="../tags/tag141.xml"/><Relationship Id="rId2" Type="http://schemas.openxmlformats.org/officeDocument/2006/relationships/tags" Target="../tags/tag51.xml"/><Relationship Id="rId29" Type="http://schemas.openxmlformats.org/officeDocument/2006/relationships/tags" Target="../tags/tag78.xml"/><Relationship Id="rId24" Type="http://schemas.openxmlformats.org/officeDocument/2006/relationships/tags" Target="../tags/tag73.xml"/><Relationship Id="rId40" Type="http://schemas.openxmlformats.org/officeDocument/2006/relationships/tags" Target="../tags/tag89.xml"/><Relationship Id="rId45" Type="http://schemas.openxmlformats.org/officeDocument/2006/relationships/tags" Target="../tags/tag94.xml"/><Relationship Id="rId66" Type="http://schemas.openxmlformats.org/officeDocument/2006/relationships/tags" Target="../tags/tag115.xml"/><Relationship Id="rId87" Type="http://schemas.openxmlformats.org/officeDocument/2006/relationships/tags" Target="../tags/tag136.xml"/><Relationship Id="rId61" Type="http://schemas.openxmlformats.org/officeDocument/2006/relationships/tags" Target="../tags/tag110.xml"/><Relationship Id="rId82" Type="http://schemas.openxmlformats.org/officeDocument/2006/relationships/tags" Target="../tags/tag131.xml"/><Relationship Id="rId19" Type="http://schemas.openxmlformats.org/officeDocument/2006/relationships/tags" Target="../tags/tag68.xml"/><Relationship Id="rId14" Type="http://schemas.openxmlformats.org/officeDocument/2006/relationships/tags" Target="../tags/tag63.xml"/><Relationship Id="rId30" Type="http://schemas.openxmlformats.org/officeDocument/2006/relationships/tags" Target="../tags/tag79.xml"/><Relationship Id="rId35" Type="http://schemas.openxmlformats.org/officeDocument/2006/relationships/tags" Target="../tags/tag84.xml"/><Relationship Id="rId56" Type="http://schemas.openxmlformats.org/officeDocument/2006/relationships/tags" Target="../tags/tag105.xml"/><Relationship Id="rId77" Type="http://schemas.openxmlformats.org/officeDocument/2006/relationships/tags" Target="../tags/tag126.xml"/><Relationship Id="rId100" Type="http://schemas.openxmlformats.org/officeDocument/2006/relationships/slideLayout" Target="../slideLayouts/slideLayout2.xml"/><Relationship Id="rId105" Type="http://schemas.microsoft.com/office/2007/relationships/hdphoto" Target="../media/hdphoto1.wdp"/><Relationship Id="rId8" Type="http://schemas.openxmlformats.org/officeDocument/2006/relationships/tags" Target="../tags/tag57.xml"/><Relationship Id="rId51" Type="http://schemas.openxmlformats.org/officeDocument/2006/relationships/tags" Target="../tags/tag100.xml"/><Relationship Id="rId72" Type="http://schemas.openxmlformats.org/officeDocument/2006/relationships/tags" Target="../tags/tag121.xml"/><Relationship Id="rId93" Type="http://schemas.openxmlformats.org/officeDocument/2006/relationships/tags" Target="../tags/tag142.xml"/><Relationship Id="rId98" Type="http://schemas.openxmlformats.org/officeDocument/2006/relationships/tags" Target="../tags/tag147.xml"/><Relationship Id="rId3" Type="http://schemas.openxmlformats.org/officeDocument/2006/relationships/tags" Target="../tags/tag52.xml"/><Relationship Id="rId25" Type="http://schemas.openxmlformats.org/officeDocument/2006/relationships/tags" Target="../tags/tag74.xml"/><Relationship Id="rId46" Type="http://schemas.openxmlformats.org/officeDocument/2006/relationships/tags" Target="../tags/tag95.xml"/><Relationship Id="rId67" Type="http://schemas.openxmlformats.org/officeDocument/2006/relationships/tags" Target="../tags/tag116.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50.xml"/><Relationship Id="rId7" Type="http://schemas.openxmlformats.org/officeDocument/2006/relationships/image" Target="../media/image14.emf"/><Relationship Id="rId2" Type="http://schemas.openxmlformats.org/officeDocument/2006/relationships/tags" Target="../tags/tag149.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microsoft.com/office/2007/relationships/hdphoto" Target="../media/hdphoto2.wdp"/></Relationships>
</file>

<file path=ppt/slides/_rels/slide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52.xml"/><Relationship Id="rId7" Type="http://schemas.openxmlformats.org/officeDocument/2006/relationships/oleObject" Target="../embeddings/oleObject12.bin"/><Relationship Id="rId2" Type="http://schemas.openxmlformats.org/officeDocument/2006/relationships/tags" Target="../tags/tag151.xml"/><Relationship Id="rId1" Type="http://schemas.openxmlformats.org/officeDocument/2006/relationships/vmlDrawing" Target="../drawings/vmlDrawing10.v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153.xml"/><Relationship Id="rId9"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20.jpeg"/><Relationship Id="rId2" Type="http://schemas.openxmlformats.org/officeDocument/2006/relationships/tags" Target="../tags/tag154.xml"/><Relationship Id="rId1" Type="http://schemas.openxmlformats.org/officeDocument/2006/relationships/vmlDrawing" Target="../drawings/vmlDrawing11.vml"/><Relationship Id="rId6" Type="http://schemas.openxmlformats.org/officeDocument/2006/relationships/tags" Target="../tags/tag158.xml"/><Relationship Id="rId11" Type="http://schemas.openxmlformats.org/officeDocument/2006/relationships/image" Target="../media/image1.emf"/><Relationship Id="rId5" Type="http://schemas.openxmlformats.org/officeDocument/2006/relationships/tags" Target="../tags/tag157.xml"/><Relationship Id="rId10" Type="http://schemas.openxmlformats.org/officeDocument/2006/relationships/oleObject" Target="../embeddings/oleObject13.bin"/><Relationship Id="rId4" Type="http://schemas.openxmlformats.org/officeDocument/2006/relationships/tags" Target="../tags/tag156.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61.xml"/><Relationship Id="rId7" Type="http://schemas.openxmlformats.org/officeDocument/2006/relationships/image" Target="../media/image14.emf"/><Relationship Id="rId2" Type="http://schemas.openxmlformats.org/officeDocument/2006/relationships/tags" Target="../tags/tag160.xml"/><Relationship Id="rId1" Type="http://schemas.openxmlformats.org/officeDocument/2006/relationships/vmlDrawing" Target="../drawings/vmlDrawing12.vml"/><Relationship Id="rId6" Type="http://schemas.openxmlformats.org/officeDocument/2006/relationships/oleObject" Target="../embeddings/oleObject14.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163.xml"/><Relationship Id="rId7" Type="http://schemas.openxmlformats.org/officeDocument/2006/relationships/image" Target="../media/image14.emf"/><Relationship Id="rId2" Type="http://schemas.openxmlformats.org/officeDocument/2006/relationships/tags" Target="../tags/tag162.xml"/><Relationship Id="rId1" Type="http://schemas.openxmlformats.org/officeDocument/2006/relationships/vmlDrawing" Target="../drawings/vmlDrawing13.vml"/><Relationship Id="rId6" Type="http://schemas.openxmlformats.org/officeDocument/2006/relationships/oleObject" Target="../embeddings/oleObject15.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219398"/>
              </p:ext>
            </p:extLst>
          </p:nvPr>
        </p:nvGraphicFramePr>
        <p:xfrm>
          <a:off x="1495395" y="1757"/>
          <a:ext cx="1555" cy="1555"/>
        </p:xfrm>
        <a:graphic>
          <a:graphicData uri="http://schemas.openxmlformats.org/presentationml/2006/ole">
            <mc:AlternateContent xmlns:mc="http://schemas.openxmlformats.org/markup-compatibility/2006">
              <mc:Choice xmlns:v="urn:schemas-microsoft-com:vml" Requires="v">
                <p:oleObj spid="_x0000_s119869" name="think-cell Slide" r:id="rId5" imgW="307" imgH="307" progId="TCLayout.ActiveDocument.1">
                  <p:embed/>
                </p:oleObj>
              </mc:Choice>
              <mc:Fallback>
                <p:oleObj name="think-cell Slide" r:id="rId5" imgW="307" imgH="307" progId="TCLayout.ActiveDocument.1">
                  <p:embed/>
                  <p:pic>
                    <p:nvPicPr>
                      <p:cNvPr id="10" name="Object 9" hidden="1"/>
                      <p:cNvPicPr/>
                      <p:nvPr/>
                    </p:nvPicPr>
                    <p:blipFill>
                      <a:blip r:embed="rId6"/>
                      <a:stretch>
                        <a:fillRect/>
                      </a:stretch>
                    </p:blipFill>
                    <p:spPr>
                      <a:xfrm>
                        <a:off x="1495395" y="1757"/>
                        <a:ext cx="1555" cy="1555"/>
                      </a:xfrm>
                      <a:prstGeom prst="rect">
                        <a:avLst/>
                      </a:prstGeom>
                    </p:spPr>
                  </p:pic>
                </p:oleObj>
              </mc:Fallback>
            </mc:AlternateContent>
          </a:graphicData>
        </a:graphic>
      </p:graphicFrame>
      <p:sp>
        <p:nvSpPr>
          <p:cNvPr id="53" name="Title 52"/>
          <p:cNvSpPr>
            <a:spLocks noGrp="1"/>
          </p:cNvSpPr>
          <p:nvPr>
            <p:ph type="ctrTitle"/>
          </p:nvPr>
        </p:nvSpPr>
        <p:spPr>
          <a:xfrm>
            <a:off x="1819930" y="4580653"/>
            <a:ext cx="8309252" cy="4924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CO" dirty="0"/>
              <a:t>El Desafío Mundial de Vivienda Asequible</a:t>
            </a:r>
          </a:p>
        </p:txBody>
      </p:sp>
      <p:pic>
        <p:nvPicPr>
          <p:cNvPr id="2" name="Picture 1">
            <a:extLst>
              <a:ext uri="{FF2B5EF4-FFF2-40B4-BE49-F238E27FC236}">
                <a16:creationId xmlns:a16="http://schemas.microsoft.com/office/drawing/2014/main" id="{1B72CAC0-1DB6-4904-A375-E2E33A984920}"/>
              </a:ext>
            </a:extLst>
          </p:cNvPr>
          <p:cNvPicPr>
            <a:picLocks noChangeAspect="1"/>
          </p:cNvPicPr>
          <p:nvPr/>
        </p:nvPicPr>
        <p:blipFill>
          <a:blip r:embed="rId7"/>
          <a:stretch>
            <a:fillRect/>
          </a:stretch>
        </p:blipFill>
        <p:spPr>
          <a:xfrm>
            <a:off x="9365399" y="606812"/>
            <a:ext cx="2142857" cy="2142857"/>
          </a:xfrm>
          <a:prstGeom prst="rect">
            <a:avLst/>
          </a:prstGeom>
        </p:spPr>
      </p:pic>
    </p:spTree>
    <p:extLst>
      <p:ext uri="{BB962C8B-B14F-4D97-AF65-F5344CB8AC3E}">
        <p14:creationId xmlns:p14="http://schemas.microsoft.com/office/powerpoint/2010/main" val="235481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3839707420"/>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28322" name="think-cell Slide" r:id="rId35" imgW="270" imgH="270" progId="TCLayout.ActiveDocument.1">
                  <p:embed/>
                </p:oleObj>
              </mc:Choice>
              <mc:Fallback>
                <p:oleObj name="think-cell Slide" r:id="rId35" imgW="270" imgH="270" progId="TCLayout.ActiveDocument.1">
                  <p:embed/>
                  <p:pic>
                    <p:nvPicPr>
                      <p:cNvPr id="37" name="Object 36" hidden="1"/>
                      <p:cNvPicPr/>
                      <p:nvPr/>
                    </p:nvPicPr>
                    <p:blipFill>
                      <a:blip r:embed="rId36"/>
                      <a:stretch>
                        <a:fillRect/>
                      </a:stretch>
                    </p:blipFill>
                    <p:spPr>
                      <a:xfrm>
                        <a:off x="1495426" y="1589"/>
                        <a:ext cx="1586" cy="1586"/>
                      </a:xfrm>
                      <a:prstGeom prst="rect">
                        <a:avLst/>
                      </a:prstGeom>
                    </p:spPr>
                  </p:pic>
                </p:oleObj>
              </mc:Fallback>
            </mc:AlternateContent>
          </a:graphicData>
        </a:graphic>
      </p:graphicFrame>
      <p:sp>
        <p:nvSpPr>
          <p:cNvPr id="36" name="Rectangle 35" hidden="1"/>
          <p:cNvSpPr/>
          <p:nvPr>
            <p:custDataLst>
              <p:tags r:id="rId3"/>
            </p:custDataLst>
          </p:nvPr>
        </p:nvSpPr>
        <p:spPr bwMode="gray">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CO" dirty="0">
              <a:solidFill>
                <a:schemeClr val="tx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64" name="Freeform: Shape 63">
            <a:extLst>
              <a:ext uri="{FF2B5EF4-FFF2-40B4-BE49-F238E27FC236}">
                <a16:creationId xmlns:a16="http://schemas.microsoft.com/office/drawing/2014/main" id="{FA1718DB-E1F0-4318-A2B3-BAE4DA8A8879}"/>
              </a:ext>
            </a:extLst>
          </p:cNvPr>
          <p:cNvSpPr/>
          <p:nvPr/>
        </p:nvSpPr>
        <p:spPr>
          <a:xfrm>
            <a:off x="5215217" y="1775226"/>
            <a:ext cx="6551098" cy="4243911"/>
          </a:xfrm>
          <a:custGeom>
            <a:avLst/>
            <a:gdLst>
              <a:gd name="connsiteX0" fmla="*/ 1241241 w 6551098"/>
              <a:gd name="connsiteY0" fmla="*/ 0 h 4243911"/>
              <a:gd name="connsiteX1" fmla="*/ 6551098 w 6551098"/>
              <a:gd name="connsiteY1" fmla="*/ 0 h 4243911"/>
              <a:gd name="connsiteX2" fmla="*/ 6551098 w 6551098"/>
              <a:gd name="connsiteY2" fmla="*/ 4243911 h 4243911"/>
              <a:gd name="connsiteX3" fmla="*/ 1241241 w 6551098"/>
              <a:gd name="connsiteY3" fmla="*/ 4243911 h 4243911"/>
              <a:gd name="connsiteX4" fmla="*/ 1241241 w 6551098"/>
              <a:gd name="connsiteY4" fmla="*/ 3375039 h 4243911"/>
              <a:gd name="connsiteX5" fmla="*/ 0 w 6551098"/>
              <a:gd name="connsiteY5" fmla="*/ 3375039 h 4243911"/>
              <a:gd name="connsiteX6" fmla="*/ 0 w 6551098"/>
              <a:gd name="connsiteY6" fmla="*/ 3030138 h 4243911"/>
              <a:gd name="connsiteX7" fmla="*/ 1241241 w 6551098"/>
              <a:gd name="connsiteY7" fmla="*/ 3030138 h 424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1098" h="4243911">
                <a:moveTo>
                  <a:pt x="1241241" y="0"/>
                </a:moveTo>
                <a:lnTo>
                  <a:pt x="6551098" y="0"/>
                </a:lnTo>
                <a:lnTo>
                  <a:pt x="6551098" y="4243911"/>
                </a:lnTo>
                <a:lnTo>
                  <a:pt x="1241241" y="4243911"/>
                </a:lnTo>
                <a:lnTo>
                  <a:pt x="1241241" y="3375039"/>
                </a:lnTo>
                <a:lnTo>
                  <a:pt x="0" y="3375039"/>
                </a:lnTo>
                <a:lnTo>
                  <a:pt x="0" y="3030138"/>
                </a:lnTo>
                <a:lnTo>
                  <a:pt x="1241241" y="3030138"/>
                </a:lnTo>
                <a:close/>
              </a:path>
            </a:pathLst>
          </a:custGeom>
          <a:solidFill>
            <a:schemeClr val="accent2">
              <a:lumMod val="20000"/>
              <a:lumOff val="80000"/>
              <a:alpha val="6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err="1">
              <a:solidFill>
                <a:schemeClr val="tx1"/>
              </a:solidFill>
            </a:endParaRPr>
          </a:p>
        </p:txBody>
      </p:sp>
      <p:cxnSp>
        <p:nvCxnSpPr>
          <p:cNvPr id="65" name="Straight Connector 64"/>
          <p:cNvCxnSpPr>
            <a:cxnSpLocks/>
          </p:cNvCxnSpPr>
          <p:nvPr/>
        </p:nvCxnSpPr>
        <p:spPr>
          <a:xfrm>
            <a:off x="1652587" y="1707416"/>
            <a:ext cx="1011372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bwMode="gray">
          <a:xfrm>
            <a:off x="739140" y="353603"/>
            <a:ext cx="10401755"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19069"/>
            <a:r>
              <a:rPr lang="es-ES_tradnl" dirty="0"/>
              <a:t>El desarrollo orientado al tránsito en Hong Kong ha proporcionado </a:t>
            </a:r>
            <a:br>
              <a:rPr lang="es-ES_tradnl" dirty="0"/>
            </a:br>
            <a:r>
              <a:rPr lang="es-ES_tradnl" dirty="0"/>
              <a:t>más de 600,000 viviendas asequibles</a:t>
            </a:r>
          </a:p>
        </p:txBody>
      </p:sp>
      <p:sp>
        <p:nvSpPr>
          <p:cNvPr id="11" name="Rectangle 11"/>
          <p:cNvSpPr txBox="1">
            <a:spLocks/>
          </p:cNvSpPr>
          <p:nvPr/>
        </p:nvSpPr>
        <p:spPr bwMode="gray">
          <a:xfrm>
            <a:off x="618758" y="2249492"/>
            <a:ext cx="949693" cy="1004737"/>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sz="1200" b="1" dirty="0">
                <a:solidFill>
                  <a:schemeClr val="tx2"/>
                </a:solidFill>
              </a:rPr>
              <a:t>Longitud del ferrocarril</a:t>
            </a:r>
          </a:p>
          <a:p>
            <a:r>
              <a:rPr lang="es-ES_tradnl" sz="1200" dirty="0">
                <a:solidFill>
                  <a:schemeClr val="accent6"/>
                </a:solidFill>
              </a:rPr>
              <a:t>Km</a:t>
            </a:r>
          </a:p>
        </p:txBody>
      </p:sp>
      <p:sp>
        <p:nvSpPr>
          <p:cNvPr id="74" name="Rectangle 11"/>
          <p:cNvSpPr txBox="1">
            <a:spLocks/>
          </p:cNvSpPr>
          <p:nvPr/>
        </p:nvSpPr>
        <p:spPr bwMode="gray">
          <a:xfrm>
            <a:off x="618758" y="3375823"/>
            <a:ext cx="949693" cy="1004737"/>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sz="1200" b="1">
                <a:solidFill>
                  <a:schemeClr val="tx2"/>
                </a:solidFill>
              </a:rPr>
              <a:t>Área urbana</a:t>
            </a:r>
          </a:p>
        </p:txBody>
      </p:sp>
      <p:sp>
        <p:nvSpPr>
          <p:cNvPr id="79" name="Rectangle 11"/>
          <p:cNvSpPr txBox="1">
            <a:spLocks/>
          </p:cNvSpPr>
          <p:nvPr/>
        </p:nvSpPr>
        <p:spPr bwMode="gray">
          <a:xfrm>
            <a:off x="618758" y="4502153"/>
            <a:ext cx="949693" cy="1004737"/>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sz="1200" b="1">
                <a:solidFill>
                  <a:schemeClr val="tx2"/>
                </a:solidFill>
              </a:rPr>
              <a:t>Población</a:t>
            </a:r>
          </a:p>
          <a:p>
            <a:r>
              <a:rPr lang="es-ES_tradnl" sz="1200">
                <a:solidFill>
                  <a:schemeClr val="accent6"/>
                </a:solidFill>
              </a:rPr>
              <a:t>Mn</a:t>
            </a:r>
          </a:p>
        </p:txBody>
      </p:sp>
      <p:graphicFrame>
        <p:nvGraphicFramePr>
          <p:cNvPr id="22" name="Object 21"/>
          <p:cNvGraphicFramePr>
            <a:graphicFrameLocks/>
          </p:cNvGraphicFramePr>
          <p:nvPr>
            <p:custDataLst>
              <p:tags r:id="rId4"/>
            </p:custDataLst>
            <p:extLst>
              <p:ext uri="{D42A27DB-BD31-4B8C-83A1-F6EECF244321}">
                <p14:modId xmlns:p14="http://schemas.microsoft.com/office/powerpoint/2010/main" val="2510330423"/>
              </p:ext>
            </p:extLst>
          </p:nvPr>
        </p:nvGraphicFramePr>
        <p:xfrm>
          <a:off x="1600200" y="2209800"/>
          <a:ext cx="4358582" cy="1272622"/>
        </p:xfrm>
        <a:graphic>
          <a:graphicData uri="http://schemas.openxmlformats.org/presentationml/2006/ole">
            <mc:AlternateContent xmlns:mc="http://schemas.openxmlformats.org/markup-compatibility/2006">
              <mc:Choice xmlns:v="urn:schemas-microsoft-com:vml" Requires="v">
                <p:oleObj spid="_x0000_s128323" name="Chart" r:id="rId37" imgW="4358582" imgH="1272622" progId="MSGraph.Chart.8">
                  <p:embed followColorScheme="full"/>
                </p:oleObj>
              </mc:Choice>
              <mc:Fallback>
                <p:oleObj name="Chart" r:id="rId37" imgW="4358582" imgH="1272622" progId="MSGraph.Chart.8">
                  <p:embed followColorScheme="full"/>
                  <p:pic>
                    <p:nvPicPr>
                      <p:cNvPr id="22" name="Object 21"/>
                      <p:cNvPicPr/>
                      <p:nvPr/>
                    </p:nvPicPr>
                    <p:blipFill>
                      <a:blip r:embed="rId38"/>
                      <a:stretch>
                        <a:fillRect/>
                      </a:stretch>
                    </p:blipFill>
                    <p:spPr>
                      <a:xfrm>
                        <a:off x="1600200" y="2209800"/>
                        <a:ext cx="4358582" cy="1272622"/>
                      </a:xfrm>
                      <a:prstGeom prst="rect">
                        <a:avLst/>
                      </a:prstGeom>
                    </p:spPr>
                  </p:pic>
                </p:oleObj>
              </mc:Fallback>
            </mc:AlternateContent>
          </a:graphicData>
        </a:graphic>
      </p:graphicFrame>
      <p:graphicFrame>
        <p:nvGraphicFramePr>
          <p:cNvPr id="97" name="Object 96"/>
          <p:cNvGraphicFramePr>
            <a:graphicFrameLocks/>
          </p:cNvGraphicFramePr>
          <p:nvPr>
            <p:custDataLst>
              <p:tags r:id="rId5"/>
            </p:custDataLst>
            <p:extLst>
              <p:ext uri="{D42A27DB-BD31-4B8C-83A1-F6EECF244321}">
                <p14:modId xmlns:p14="http://schemas.microsoft.com/office/powerpoint/2010/main" val="1650794932"/>
              </p:ext>
            </p:extLst>
          </p:nvPr>
        </p:nvGraphicFramePr>
        <p:xfrm>
          <a:off x="1562100" y="3314700"/>
          <a:ext cx="4396708" cy="1310805"/>
        </p:xfrm>
        <a:graphic>
          <a:graphicData uri="http://schemas.openxmlformats.org/presentationml/2006/ole">
            <mc:AlternateContent xmlns:mc="http://schemas.openxmlformats.org/markup-compatibility/2006">
              <mc:Choice xmlns:v="urn:schemas-microsoft-com:vml" Requires="v">
                <p:oleObj spid="_x0000_s128324" name="Chart" r:id="rId39" imgW="4396708" imgH="1310805" progId="MSGraph.Chart.8">
                  <p:embed followColorScheme="full"/>
                </p:oleObj>
              </mc:Choice>
              <mc:Fallback>
                <p:oleObj name="Chart" r:id="rId39" imgW="4396708" imgH="1310805" progId="MSGraph.Chart.8">
                  <p:embed followColorScheme="full"/>
                  <p:pic>
                    <p:nvPicPr>
                      <p:cNvPr id="97" name="Object 96"/>
                      <p:cNvPicPr/>
                      <p:nvPr/>
                    </p:nvPicPr>
                    <p:blipFill>
                      <a:blip r:embed="rId40"/>
                      <a:stretch>
                        <a:fillRect/>
                      </a:stretch>
                    </p:blipFill>
                    <p:spPr>
                      <a:xfrm>
                        <a:off x="1562100" y="3314700"/>
                        <a:ext cx="4396708" cy="1310805"/>
                      </a:xfrm>
                      <a:prstGeom prst="rect">
                        <a:avLst/>
                      </a:prstGeom>
                    </p:spPr>
                  </p:pic>
                </p:oleObj>
              </mc:Fallback>
            </mc:AlternateContent>
          </a:graphicData>
        </a:graphic>
      </p:graphicFrame>
      <p:sp>
        <p:nvSpPr>
          <p:cNvPr id="31" name="Rectangle 30"/>
          <p:cNvSpPr/>
          <p:nvPr>
            <p:custDataLst>
              <p:tags r:id="rId6"/>
            </p:custDataLst>
          </p:nvPr>
        </p:nvSpPr>
        <p:spPr bwMode="gray">
          <a:xfrm>
            <a:off x="1817688" y="2200275"/>
            <a:ext cx="165100" cy="165100"/>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a:solidFill>
                <a:schemeClr val="tx1"/>
              </a:solidFill>
            </a:endParaRPr>
          </a:p>
        </p:txBody>
      </p:sp>
      <p:sp>
        <p:nvSpPr>
          <p:cNvPr id="30" name="Rectangle 29"/>
          <p:cNvSpPr/>
          <p:nvPr>
            <p:custDataLst>
              <p:tags r:id="rId7"/>
            </p:custDataLst>
          </p:nvPr>
        </p:nvSpPr>
        <p:spPr bwMode="gray">
          <a:xfrm>
            <a:off x="3660775" y="1928813"/>
            <a:ext cx="165100" cy="165100"/>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a:solidFill>
                <a:schemeClr val="tx1"/>
              </a:solidFill>
            </a:endParaRPr>
          </a:p>
        </p:txBody>
      </p:sp>
      <p:sp>
        <p:nvSpPr>
          <p:cNvPr id="32" name="Rectangle 31"/>
          <p:cNvSpPr/>
          <p:nvPr>
            <p:custDataLst>
              <p:tags r:id="rId8"/>
            </p:custDataLst>
          </p:nvPr>
        </p:nvSpPr>
        <p:spPr bwMode="gray">
          <a:xfrm>
            <a:off x="1817688" y="1928813"/>
            <a:ext cx="165100" cy="165100"/>
          </a:xfrm>
          <a:prstGeom prst="rect">
            <a:avLst/>
          </a:prstGeom>
          <a:solidFill>
            <a:schemeClr val="hlink"/>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a:solidFill>
                <a:schemeClr val="tx1"/>
              </a:solidFill>
            </a:endParaRPr>
          </a:p>
        </p:txBody>
      </p:sp>
      <p:sp>
        <p:nvSpPr>
          <p:cNvPr id="116" name="Text Placeholder 25"/>
          <p:cNvSpPr>
            <a:spLocks noGrp="1"/>
          </p:cNvSpPr>
          <p:nvPr>
            <p:custDataLst>
              <p:tags r:id="rId9"/>
            </p:custDataLst>
          </p:nvPr>
        </p:nvSpPr>
        <p:spPr bwMode="gray">
          <a:xfrm>
            <a:off x="2084388" y="2198688"/>
            <a:ext cx="581025"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sz="1200">
                <a:latin typeface="Arial"/>
                <a:ea typeface="ＭＳ Ｐゴシック"/>
                <a:sym typeface="Arial"/>
              </a:rPr>
              <a:t>Kowlong</a:t>
            </a:r>
          </a:p>
        </p:txBody>
      </p:sp>
      <p:sp>
        <p:nvSpPr>
          <p:cNvPr id="117" name="Text Placeholder 26"/>
          <p:cNvSpPr>
            <a:spLocks noGrp="1"/>
          </p:cNvSpPr>
          <p:nvPr>
            <p:custDataLst>
              <p:tags r:id="rId10"/>
            </p:custDataLst>
          </p:nvPr>
        </p:nvSpPr>
        <p:spPr bwMode="gray">
          <a:xfrm>
            <a:off x="2084388" y="1927225"/>
            <a:ext cx="137318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sz="1200" dirty="0">
                <a:latin typeface="Arial"/>
                <a:ea typeface="ＭＳ Ｐゴシック"/>
                <a:sym typeface="Arial"/>
              </a:rPr>
              <a:t>Nuevos </a:t>
            </a:r>
            <a:r>
              <a:rPr lang="es-ES_tradnl" sz="1200" dirty="0" err="1">
                <a:latin typeface="Arial"/>
                <a:ea typeface="ＭＳ Ｐゴシック"/>
                <a:sym typeface="Arial"/>
              </a:rPr>
              <a:t>Territorrios</a:t>
            </a:r>
            <a:r>
              <a:rPr lang="es-ES_tradnl" sz="1200" dirty="0">
                <a:latin typeface="Arial"/>
                <a:ea typeface="ＭＳ Ｐゴシック"/>
                <a:sym typeface="Arial"/>
              </a:rPr>
              <a:t> </a:t>
            </a:r>
            <a:r>
              <a:rPr lang="es-ES_tradnl" sz="1200" baseline="30000" dirty="0">
                <a:latin typeface="Arial"/>
                <a:ea typeface="ＭＳ Ｐゴシック"/>
                <a:sym typeface="Arial"/>
              </a:rPr>
              <a:t>1</a:t>
            </a:r>
          </a:p>
        </p:txBody>
      </p:sp>
      <p:sp>
        <p:nvSpPr>
          <p:cNvPr id="118" name="Text Placeholder 27"/>
          <p:cNvSpPr>
            <a:spLocks noGrp="1"/>
          </p:cNvSpPr>
          <p:nvPr>
            <p:custDataLst>
              <p:tags r:id="rId11"/>
            </p:custDataLst>
          </p:nvPr>
        </p:nvSpPr>
        <p:spPr bwMode="gray">
          <a:xfrm>
            <a:off x="3927475" y="1927225"/>
            <a:ext cx="1249363"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sz="1200">
                <a:latin typeface="Arial"/>
                <a:ea typeface="ＭＳ Ｐゴシック"/>
                <a:sym typeface="Arial"/>
              </a:rPr>
              <a:t>Isla de Hong Kong</a:t>
            </a:r>
          </a:p>
        </p:txBody>
      </p:sp>
      <p:sp>
        <p:nvSpPr>
          <p:cNvPr id="139" name="4. Footnote"/>
          <p:cNvSpPr txBox="1">
            <a:spLocks noChangeArrowheads="1"/>
          </p:cNvSpPr>
          <p:nvPr/>
        </p:nvSpPr>
        <p:spPr bwMode="gray">
          <a:xfrm>
            <a:off x="589449" y="6276596"/>
            <a:ext cx="8548686"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s-ES_tradnl" sz="800" dirty="0">
                <a:solidFill>
                  <a:schemeClr val="accent6"/>
                </a:solidFill>
                <a:latin typeface="Arial" panose="020B0604020202020204" pitchFamily="34" charset="0"/>
              </a:rPr>
              <a:t>1 Incluye Kwai </a:t>
            </a:r>
            <a:r>
              <a:rPr lang="es-ES_tradnl" sz="800" dirty="0" err="1">
                <a:solidFill>
                  <a:schemeClr val="accent6"/>
                </a:solidFill>
                <a:latin typeface="Arial" panose="020B0604020202020204" pitchFamily="34" charset="0"/>
              </a:rPr>
              <a:t>Tsing</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Tuen</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Mun</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Tuen</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Mun</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Yuen</a:t>
            </a:r>
            <a:r>
              <a:rPr lang="es-ES_tradnl" sz="800" dirty="0">
                <a:solidFill>
                  <a:schemeClr val="accent6"/>
                </a:solidFill>
                <a:latin typeface="Arial" panose="020B0604020202020204" pitchFamily="34" charset="0"/>
              </a:rPr>
              <a:t> Long, Norte, </a:t>
            </a:r>
            <a:r>
              <a:rPr lang="es-ES_tradnl" sz="800" dirty="0" err="1">
                <a:solidFill>
                  <a:schemeClr val="accent6"/>
                </a:solidFill>
                <a:latin typeface="Arial" panose="020B0604020202020204" pitchFamily="34" charset="0"/>
              </a:rPr>
              <a:t>Tai</a:t>
            </a:r>
            <a:r>
              <a:rPr lang="es-ES_tradnl" sz="800" dirty="0">
                <a:solidFill>
                  <a:schemeClr val="accent6"/>
                </a:solidFill>
                <a:latin typeface="Arial" panose="020B0604020202020204" pitchFamily="34" charset="0"/>
              </a:rPr>
              <a:t> Po, </a:t>
            </a:r>
            <a:r>
              <a:rPr lang="es-ES_tradnl" sz="800" dirty="0" err="1">
                <a:solidFill>
                  <a:schemeClr val="accent6"/>
                </a:solidFill>
                <a:latin typeface="Arial" panose="020B0604020202020204" pitchFamily="34" charset="0"/>
              </a:rPr>
              <a:t>Sha</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Tin</a:t>
            </a:r>
            <a:r>
              <a:rPr lang="es-ES_tradnl" sz="800" dirty="0">
                <a:solidFill>
                  <a:schemeClr val="accent6"/>
                </a:solidFill>
                <a:latin typeface="Arial" panose="020B0604020202020204" pitchFamily="34" charset="0"/>
              </a:rPr>
              <a:t>, </a:t>
            </a:r>
            <a:r>
              <a:rPr lang="es-ES_tradnl" sz="800" dirty="0" err="1">
                <a:solidFill>
                  <a:schemeClr val="accent6"/>
                </a:solidFill>
                <a:latin typeface="Arial" panose="020B0604020202020204" pitchFamily="34" charset="0"/>
              </a:rPr>
              <a:t>Sai</a:t>
            </a:r>
            <a:r>
              <a:rPr lang="es-ES_tradnl" sz="800" dirty="0">
                <a:solidFill>
                  <a:schemeClr val="accent6"/>
                </a:solidFill>
                <a:latin typeface="Arial" panose="020B0604020202020204" pitchFamily="34" charset="0"/>
              </a:rPr>
              <a:t> Kung</a:t>
            </a:r>
          </a:p>
        </p:txBody>
      </p:sp>
      <p:grpSp>
        <p:nvGrpSpPr>
          <p:cNvPr id="4" name="Group 3">
            <a:extLst>
              <a:ext uri="{FF2B5EF4-FFF2-40B4-BE49-F238E27FC236}">
                <a16:creationId xmlns:a16="http://schemas.microsoft.com/office/drawing/2014/main" id="{9EFA1DCB-87CF-4177-AF72-B168FEBF1D15}"/>
              </a:ext>
            </a:extLst>
          </p:cNvPr>
          <p:cNvGrpSpPr/>
          <p:nvPr/>
        </p:nvGrpSpPr>
        <p:grpSpPr>
          <a:xfrm>
            <a:off x="6716713" y="1833563"/>
            <a:ext cx="5049603" cy="530218"/>
            <a:chOff x="6272213" y="1563694"/>
            <a:chExt cx="3654754" cy="530218"/>
          </a:xfrm>
        </p:grpSpPr>
        <p:sp>
          <p:nvSpPr>
            <p:cNvPr id="141" name="Rectangle 11"/>
            <p:cNvSpPr txBox="1"/>
            <p:nvPr/>
          </p:nvSpPr>
          <p:spPr bwMode="gray">
            <a:xfrm>
              <a:off x="6272213" y="1563694"/>
              <a:ext cx="3654754"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b="1" dirty="0">
                  <a:solidFill>
                    <a:schemeClr val="tx2"/>
                  </a:solidFill>
                </a:rPr>
                <a:t>Vivienda en Nuevos territorios</a:t>
              </a:r>
              <a:r>
                <a:rPr lang="es-ES_tradnl" dirty="0"/>
                <a:t> </a:t>
              </a:r>
              <a:br>
                <a:rPr lang="es-ES_tradnl" dirty="0"/>
              </a:br>
              <a:r>
                <a:rPr lang="es-ES_tradnl" dirty="0">
                  <a:solidFill>
                    <a:schemeClr val="accent6"/>
                  </a:solidFill>
                </a:rPr>
                <a:t>Unidad Mn 2013</a:t>
              </a:r>
            </a:p>
          </p:txBody>
        </p:sp>
        <p:cxnSp>
          <p:nvCxnSpPr>
            <p:cNvPr id="142" name="Straight Connector 141"/>
            <p:cNvCxnSpPr/>
            <p:nvPr/>
          </p:nvCxnSpPr>
          <p:spPr bwMode="gray">
            <a:xfrm>
              <a:off x="6272213" y="2093912"/>
              <a:ext cx="36547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8" name="5. Source"/>
          <p:cNvSpPr>
            <a:spLocks noChangeArrowheads="1"/>
          </p:cNvSpPr>
          <p:nvPr/>
        </p:nvSpPr>
        <p:spPr bwMode="gray">
          <a:xfrm>
            <a:off x="589449" y="6492883"/>
            <a:ext cx="6862763"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609556" indent="-609556" defTabSz="895285">
              <a:tabLst>
                <a:tab pos="612730" algn="l"/>
              </a:tabLst>
            </a:pPr>
            <a:r>
              <a:rPr lang="es-ES_tradnl" sz="800">
                <a:solidFill>
                  <a:schemeClr val="accent6"/>
                </a:solidFill>
                <a:latin typeface="Arial" panose="020B0604020202020204" pitchFamily="34" charset="0"/>
              </a:rPr>
              <a:t>FUENTE: Observación de la Tierra y Aplicaciones de Teledetección, 2008, Gobierno de Hong Kong, Langdon y Seah</a:t>
            </a:r>
          </a:p>
        </p:txBody>
      </p:sp>
      <p:graphicFrame>
        <p:nvGraphicFramePr>
          <p:cNvPr id="102" name="Object 101"/>
          <p:cNvGraphicFramePr>
            <a:graphicFrameLocks/>
          </p:cNvGraphicFramePr>
          <p:nvPr>
            <p:custDataLst>
              <p:tags r:id="rId12"/>
            </p:custDataLst>
            <p:extLst>
              <p:ext uri="{D42A27DB-BD31-4B8C-83A1-F6EECF244321}">
                <p14:modId xmlns:p14="http://schemas.microsoft.com/office/powerpoint/2010/main" val="3052038570"/>
              </p:ext>
            </p:extLst>
          </p:nvPr>
        </p:nvGraphicFramePr>
        <p:xfrm>
          <a:off x="1638300" y="4648200"/>
          <a:ext cx="4267154" cy="960120"/>
        </p:xfrm>
        <a:graphic>
          <a:graphicData uri="http://schemas.openxmlformats.org/presentationml/2006/ole">
            <mc:AlternateContent xmlns:mc="http://schemas.openxmlformats.org/markup-compatibility/2006">
              <mc:Choice xmlns:v="urn:schemas-microsoft-com:vml" Requires="v">
                <p:oleObj spid="_x0000_s128325" name="Chart" r:id="rId41" imgW="4267154" imgH="960120" progId="MSGraph.Chart.8">
                  <p:embed followColorScheme="full"/>
                </p:oleObj>
              </mc:Choice>
              <mc:Fallback>
                <p:oleObj name="Chart" r:id="rId41" imgW="4267154" imgH="960120" progId="MSGraph.Chart.8">
                  <p:embed followColorScheme="full"/>
                  <p:pic>
                    <p:nvPicPr>
                      <p:cNvPr id="102" name="Object 101"/>
                      <p:cNvPicPr/>
                      <p:nvPr/>
                    </p:nvPicPr>
                    <p:blipFill>
                      <a:blip r:embed="rId42"/>
                      <a:stretch>
                        <a:fillRect/>
                      </a:stretch>
                    </p:blipFill>
                    <p:spPr>
                      <a:xfrm>
                        <a:off x="1638300" y="4648200"/>
                        <a:ext cx="4267154" cy="960120"/>
                      </a:xfrm>
                      <a:prstGeom prst="rect">
                        <a:avLst/>
                      </a:prstGeom>
                    </p:spPr>
                  </p:pic>
                </p:oleObj>
              </mc:Fallback>
            </mc:AlternateContent>
          </a:graphicData>
        </a:graphic>
      </p:graphicFrame>
      <p:sp>
        <p:nvSpPr>
          <p:cNvPr id="138" name="Text Placeholder 34"/>
          <p:cNvSpPr>
            <a:spLocks noGrp="1"/>
          </p:cNvSpPr>
          <p:nvPr>
            <p:custDataLst>
              <p:tags r:id="rId13"/>
            </p:custDataLst>
          </p:nvPr>
        </p:nvSpPr>
        <p:spPr bwMode="gray">
          <a:xfrm>
            <a:off x="4625975" y="4522789"/>
            <a:ext cx="333375" cy="2444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B3ACC2F-0839-4C97-BC8C-B0572AC40B85}" type="datetime'''7''''''''''''.''''''''''''''''1'''''''''''''''''''''">
              <a:rPr lang="es-ES_tradnl">
                <a:latin typeface="Arial"/>
                <a:ea typeface="ＭＳ Ｐゴシック"/>
                <a:sym typeface="Arial"/>
              </a:rPr>
              <a:pPr algn="ctr"/>
              <a:t>7.1</a:t>
            </a:fld>
            <a:endParaRPr lang="es-ES_tradnl">
              <a:latin typeface="Arial"/>
              <a:ea typeface="ＭＳ Ｐゴシック"/>
              <a:sym typeface="Arial"/>
            </a:endParaRPr>
          </a:p>
        </p:txBody>
      </p:sp>
      <p:sp>
        <p:nvSpPr>
          <p:cNvPr id="114" name="Text Placeholder 23"/>
          <p:cNvSpPr>
            <a:spLocks noGrp="1"/>
          </p:cNvSpPr>
          <p:nvPr>
            <p:custDataLst>
              <p:tags r:id="rId14"/>
            </p:custDataLst>
          </p:nvPr>
        </p:nvSpPr>
        <p:spPr bwMode="gray">
          <a:xfrm>
            <a:off x="4987925" y="5114925"/>
            <a:ext cx="333375" cy="244476"/>
          </a:xfrm>
          <a:prstGeom prst="rect">
            <a:avLst/>
          </a:prstGeom>
          <a:solidFill>
            <a:schemeClr val="accent2"/>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F3C4260-0785-4142-9C84-FB8587788B50}" type="datetime'''''''''''''''''''''''''''''''''1''''''''''''''''''.''''''3'''">
              <a:rPr lang="es-ES_tradnl">
                <a:solidFill>
                  <a:schemeClr val="bg1"/>
                </a:solidFill>
              </a:rPr>
              <a:pPr algn="ctr"/>
              <a:t>1.3</a:t>
            </a:fld>
            <a:endParaRPr lang="es-ES_tradnl">
              <a:solidFill>
                <a:schemeClr val="bg1"/>
              </a:solidFill>
            </a:endParaRPr>
          </a:p>
        </p:txBody>
      </p:sp>
      <p:sp>
        <p:nvSpPr>
          <p:cNvPr id="71" name="Text Placeholder 4"/>
          <p:cNvSpPr>
            <a:spLocks noGrp="1"/>
          </p:cNvSpPr>
          <p:nvPr>
            <p:custDataLst>
              <p:tags r:id="rId15"/>
            </p:custDataLst>
          </p:nvPr>
        </p:nvSpPr>
        <p:spPr bwMode="gray">
          <a:xfrm>
            <a:off x="2533650" y="5635625"/>
            <a:ext cx="463550" cy="2444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t>1970</a:t>
            </a:r>
          </a:p>
        </p:txBody>
      </p:sp>
      <p:sp>
        <p:nvSpPr>
          <p:cNvPr id="110" name="Text Placeholder 19"/>
          <p:cNvSpPr>
            <a:spLocks noGrp="1"/>
          </p:cNvSpPr>
          <p:nvPr>
            <p:custDataLst>
              <p:tags r:id="rId16"/>
            </p:custDataLst>
          </p:nvPr>
        </p:nvSpPr>
        <p:spPr bwMode="gray">
          <a:xfrm>
            <a:off x="2236788" y="5283201"/>
            <a:ext cx="333375" cy="2444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4386A185-FFBE-447E-94D0-9A3A313FC5E9}" type="datetime'''''''''''''''''''''''''2.''''''''''''''''2'''''''">
              <a:rPr lang="es-ES_tradnl"/>
              <a:pPr algn="ctr"/>
              <a:t>2.2</a:t>
            </a:fld>
            <a:endParaRPr lang="es-ES_tradnl"/>
          </a:p>
        </p:txBody>
      </p:sp>
      <p:sp>
        <p:nvSpPr>
          <p:cNvPr id="111" name="Text Placeholder 20"/>
          <p:cNvSpPr>
            <a:spLocks noGrp="1"/>
          </p:cNvSpPr>
          <p:nvPr>
            <p:custDataLst>
              <p:tags r:id="rId17"/>
            </p:custDataLst>
          </p:nvPr>
        </p:nvSpPr>
        <p:spPr bwMode="gray">
          <a:xfrm>
            <a:off x="2960688" y="5119689"/>
            <a:ext cx="333375" cy="244476"/>
          </a:xfrm>
          <a:prstGeom prst="rect">
            <a:avLst/>
          </a:prstGeom>
          <a:solidFill>
            <a:schemeClr val="accent2"/>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7D6A989-7624-465D-AB88-266703456F26}" type="datetime'''''''''''''''''''''''''1''''''''''''''.''''''''''''''0'''''''">
              <a:rPr lang="es-ES_tradnl">
                <a:solidFill>
                  <a:schemeClr val="bg1"/>
                </a:solidFill>
              </a:rPr>
              <a:pPr algn="ctr"/>
              <a:t>1.0</a:t>
            </a:fld>
            <a:endParaRPr lang="es-ES_tradnl">
              <a:solidFill>
                <a:schemeClr val="bg1"/>
              </a:solidFill>
            </a:endParaRPr>
          </a:p>
        </p:txBody>
      </p:sp>
      <p:sp>
        <p:nvSpPr>
          <p:cNvPr id="137" name="Text Placeholder 33"/>
          <p:cNvSpPr>
            <a:spLocks noGrp="1"/>
          </p:cNvSpPr>
          <p:nvPr>
            <p:custDataLst>
              <p:tags r:id="rId18"/>
            </p:custDataLst>
          </p:nvPr>
        </p:nvSpPr>
        <p:spPr bwMode="gray">
          <a:xfrm>
            <a:off x="2598738" y="4786313"/>
            <a:ext cx="333375" cy="2444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1937414-1883-4C8C-987D-3277F9EF1A26}" type="datetime'''''''''''''''''''''3''''''''''''''''''''''.''''''''9'">
              <a:rPr lang="es-ES_tradnl">
                <a:latin typeface="Arial"/>
                <a:ea typeface="ＭＳ Ｐゴシック"/>
                <a:sym typeface="Arial"/>
              </a:rPr>
              <a:pPr algn="ctr"/>
              <a:t>3.9</a:t>
            </a:fld>
            <a:endParaRPr lang="es-ES_tradnl">
              <a:latin typeface="Arial"/>
              <a:ea typeface="ＭＳ Ｐゴシック"/>
              <a:sym typeface="Arial"/>
            </a:endParaRPr>
          </a:p>
        </p:txBody>
      </p:sp>
      <p:sp>
        <p:nvSpPr>
          <p:cNvPr id="72" name="Text Placeholder 5"/>
          <p:cNvSpPr>
            <a:spLocks noGrp="1"/>
          </p:cNvSpPr>
          <p:nvPr>
            <p:custDataLst>
              <p:tags r:id="rId19"/>
            </p:custDataLst>
          </p:nvPr>
        </p:nvSpPr>
        <p:spPr bwMode="gray">
          <a:xfrm>
            <a:off x="4560888" y="5635625"/>
            <a:ext cx="463550" cy="2444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t>2010</a:t>
            </a:r>
          </a:p>
        </p:txBody>
      </p:sp>
      <p:sp>
        <p:nvSpPr>
          <p:cNvPr id="113" name="Text Placeholder 22"/>
          <p:cNvSpPr>
            <a:spLocks noGrp="1"/>
          </p:cNvSpPr>
          <p:nvPr>
            <p:custDataLst>
              <p:tags r:id="rId20"/>
            </p:custDataLst>
          </p:nvPr>
        </p:nvSpPr>
        <p:spPr bwMode="gray">
          <a:xfrm>
            <a:off x="4264025" y="5286375"/>
            <a:ext cx="333375" cy="2444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D19ACDA-4ACF-4B6F-BD1A-6D9341190280}" type="datetime'''2''''''''''.''''''''''''''''''''1'''''''''''''''''''''''">
              <a:rPr lang="es-ES_tradnl"/>
              <a:pPr algn="ctr"/>
              <a:t>2.1</a:t>
            </a:fld>
            <a:endParaRPr lang="es-ES_tradnl"/>
          </a:p>
        </p:txBody>
      </p:sp>
      <p:sp>
        <p:nvSpPr>
          <p:cNvPr id="112" name="Text Placeholder 21"/>
          <p:cNvSpPr>
            <a:spLocks noGrp="1"/>
          </p:cNvSpPr>
          <p:nvPr>
            <p:custDataLst>
              <p:tags r:id="rId21"/>
            </p:custDataLst>
          </p:nvPr>
        </p:nvSpPr>
        <p:spPr bwMode="gray">
          <a:xfrm>
            <a:off x="2236788" y="5030789"/>
            <a:ext cx="333375" cy="244476"/>
          </a:xfrm>
          <a:prstGeom prst="rect">
            <a:avLst/>
          </a:prstGeom>
          <a:solidFill>
            <a:schemeClr val="hlink"/>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9EF645A-A528-4252-BA19-06B8CA046B70}" type="datetime'''''''''''0''''''.''''''''''''''''7'''''">
              <a:rPr lang="es-ES_tradnl" b="1">
                <a:solidFill>
                  <a:schemeClr val="bg1"/>
                </a:solidFill>
              </a:rPr>
              <a:pPr algn="ctr"/>
              <a:t>0.7</a:t>
            </a:fld>
            <a:endParaRPr lang="es-ES_tradnl" b="1">
              <a:solidFill>
                <a:schemeClr val="bg1"/>
              </a:solidFill>
            </a:endParaRPr>
          </a:p>
        </p:txBody>
      </p:sp>
      <p:sp>
        <p:nvSpPr>
          <p:cNvPr id="115" name="Text Placeholder 24"/>
          <p:cNvSpPr>
            <a:spLocks noGrp="1"/>
          </p:cNvSpPr>
          <p:nvPr>
            <p:custDataLst>
              <p:tags r:id="rId22"/>
            </p:custDataLst>
          </p:nvPr>
        </p:nvSpPr>
        <p:spPr bwMode="gray">
          <a:xfrm>
            <a:off x="4625975" y="4860926"/>
            <a:ext cx="333375" cy="244476"/>
          </a:xfrm>
          <a:prstGeom prst="rect">
            <a:avLst/>
          </a:prstGeom>
          <a:noFill/>
          <a:ln w="9525">
            <a:noFill/>
            <a:miter lim="800000"/>
            <a:headEnd/>
            <a:tailEnd/>
          </a:ln>
          <a:effectLst/>
          <a:extLst>
            <a:ext uri="{909E8E84-426E-40dd-AFC4-6F175D3DCCD1}">
              <a14:hiddenFill xmlns:a14="http://schemas.microsoft.com/office/drawing/2010/main" xmlns="">
                <a:solidFill>
                  <a:schemeClr val="hlink"/>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14CA940-1148-47A6-B63E-77AAD0969119}" type="datetime'''''''''''''''''''3''''.''7'''''''''''">
              <a:rPr lang="es-ES_tradnl" b="1">
                <a:solidFill>
                  <a:schemeClr val="bg1"/>
                </a:solidFill>
              </a:rPr>
              <a:pPr/>
              <a:t>3.7</a:t>
            </a:fld>
            <a:endParaRPr lang="es-ES_tradnl" b="1">
              <a:solidFill>
                <a:schemeClr val="bg1"/>
              </a:solidFill>
            </a:endParaRPr>
          </a:p>
        </p:txBody>
      </p:sp>
      <p:sp>
        <p:nvSpPr>
          <p:cNvPr id="175" name="Rectangle 174"/>
          <p:cNvSpPr/>
          <p:nvPr/>
        </p:nvSpPr>
        <p:spPr bwMode="gray">
          <a:xfrm>
            <a:off x="4008157" y="4505329"/>
            <a:ext cx="1574475" cy="648783"/>
          </a:xfrm>
          <a:prstGeom prst="rect">
            <a:avLst/>
          </a:prstGeom>
          <a:noFill/>
          <a:ln w="190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a:solidFill>
                <a:schemeClr val="tx1"/>
              </a:solidFill>
            </a:endParaRPr>
          </a:p>
        </p:txBody>
      </p:sp>
      <p:grpSp>
        <p:nvGrpSpPr>
          <p:cNvPr id="5" name="Group 4">
            <a:extLst>
              <a:ext uri="{FF2B5EF4-FFF2-40B4-BE49-F238E27FC236}">
                <a16:creationId xmlns:a16="http://schemas.microsoft.com/office/drawing/2014/main" id="{191E5828-B9EC-4F1C-ABFF-BBD64BCA43BB}"/>
              </a:ext>
            </a:extLst>
          </p:cNvPr>
          <p:cNvGrpSpPr/>
          <p:nvPr/>
        </p:nvGrpSpPr>
        <p:grpSpPr>
          <a:xfrm>
            <a:off x="642228" y="3315026"/>
            <a:ext cx="5473049" cy="1126331"/>
            <a:chOff x="813223" y="3315026"/>
            <a:chExt cx="2501472" cy="1126331"/>
          </a:xfrm>
        </p:grpSpPr>
        <p:cxnSp>
          <p:nvCxnSpPr>
            <p:cNvPr id="10" name="Straight Connector 9"/>
            <p:cNvCxnSpPr>
              <a:cxnSpLocks/>
            </p:cNvCxnSpPr>
            <p:nvPr/>
          </p:nvCxnSpPr>
          <p:spPr bwMode="gray">
            <a:xfrm>
              <a:off x="813223" y="3315026"/>
              <a:ext cx="2501472"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bwMode="gray">
            <a:xfrm>
              <a:off x="813223" y="4441357"/>
              <a:ext cx="2501472"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cxnSp>
        <p:nvCxnSpPr>
          <p:cNvPr id="34" name="Straight Connector 33"/>
          <p:cNvCxnSpPr/>
          <p:nvPr>
            <p:custDataLst>
              <p:tags r:id="rId23"/>
            </p:custDataLst>
          </p:nvPr>
        </p:nvCxnSpPr>
        <p:spPr bwMode="gray">
          <a:xfrm>
            <a:off x="9264650" y="4335463"/>
            <a:ext cx="0" cy="471488"/>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4"/>
            </p:custDataLst>
          </p:nvPr>
        </p:nvCxnSpPr>
        <p:spPr bwMode="gray">
          <a:xfrm>
            <a:off x="11315700" y="3268663"/>
            <a:ext cx="0" cy="471488"/>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44" name="Object 143"/>
          <p:cNvGraphicFramePr>
            <a:graphicFrameLocks/>
          </p:cNvGraphicFramePr>
          <p:nvPr>
            <p:custDataLst>
              <p:tags r:id="rId25"/>
            </p:custDataLst>
            <p:extLst>
              <p:ext uri="{D42A27DB-BD31-4B8C-83A1-F6EECF244321}">
                <p14:modId xmlns:p14="http://schemas.microsoft.com/office/powerpoint/2010/main" val="4287340186"/>
              </p:ext>
            </p:extLst>
          </p:nvPr>
        </p:nvGraphicFramePr>
        <p:xfrm>
          <a:off x="7620000" y="2324100"/>
          <a:ext cx="3794835" cy="3413801"/>
        </p:xfrm>
        <a:graphic>
          <a:graphicData uri="http://schemas.openxmlformats.org/presentationml/2006/ole">
            <mc:AlternateContent xmlns:mc="http://schemas.openxmlformats.org/markup-compatibility/2006">
              <mc:Choice xmlns:v="urn:schemas-microsoft-com:vml" Requires="v">
                <p:oleObj spid="_x0000_s128326" name="Chart" r:id="rId43" imgW="3794835" imgH="3413801" progId="MSGraph.Chart.8">
                  <p:embed followColorScheme="full"/>
                </p:oleObj>
              </mc:Choice>
              <mc:Fallback>
                <p:oleObj name="Chart" r:id="rId43" imgW="3794835" imgH="3413801" progId="MSGraph.Chart.8">
                  <p:embed followColorScheme="full"/>
                  <p:pic>
                    <p:nvPicPr>
                      <p:cNvPr id="144" name="Object 143"/>
                      <p:cNvPicPr/>
                      <p:nvPr/>
                    </p:nvPicPr>
                    <p:blipFill>
                      <a:blip r:embed="rId44"/>
                      <a:stretch>
                        <a:fillRect/>
                      </a:stretch>
                    </p:blipFill>
                    <p:spPr>
                      <a:xfrm>
                        <a:off x="7620000" y="2324100"/>
                        <a:ext cx="3794835" cy="3413801"/>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D17B4490-118D-4E83-8079-BD00304146CA}"/>
              </a:ext>
            </a:extLst>
          </p:cNvPr>
          <p:cNvSpPr>
            <a:spLocks noGrp="1" noChangeArrowheads="1"/>
          </p:cNvSpPr>
          <p:nvPr>
            <p:custDataLst>
              <p:tags r:id="rId26"/>
            </p:custDataLst>
          </p:nvPr>
        </p:nvSpPr>
        <p:spPr bwMode="gray">
          <a:xfrm>
            <a:off x="11341100" y="2847975"/>
            <a:ext cx="333375" cy="24447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 xmlns:a14="http://schemas.microsoft.com/office/drawing/2010/main">
                <a:solidFill>
                  <a:schemeClr val="accent1"/>
                </a:solidFill>
              </a14:hiddenFill>
            </a:ext>
            <a:ext uri="{AF507438-7753-43e0-B8FC-AC1667EBCBE1}">
              <a14:hiddenEffects xmlns:lc="http://schemas.openxmlformats.org/drawingml/2006/lockedCanvas" xmln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1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68" indent="-192081" algn="l" defTabSz="89531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83" indent="-261928" algn="l" defTabSz="89531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41" indent="-155569" algn="l" defTabSz="89531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C37B102-F679-439A-9FC1-3890510A924E}" type="datetime'''''''1''''''''''''''.''''''''''''''''''''''''4'">
              <a:rPr lang="es-CO" altLang="en-US">
                <a:latin typeface="Arial" panose="020B0604020202020204" pitchFamily="34" charset="0"/>
                <a:ea typeface="ＭＳ Ｐゴシック" panose="020B0600070205080204" pitchFamily="34" charset="-128"/>
                <a:sym typeface="Arial" panose="020B0604020202020204" pitchFamily="34" charset="0"/>
              </a:rPr>
              <a:pPr/>
              <a:t>1.4</a:t>
            </a:fld>
            <a:endParaRPr lang="es-CO"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46" name="Text Placeholder 36"/>
          <p:cNvSpPr>
            <a:spLocks noGrp="1"/>
          </p:cNvSpPr>
          <p:nvPr>
            <p:custDataLst>
              <p:tags r:id="rId27"/>
            </p:custDataLst>
          </p:nvPr>
        </p:nvSpPr>
        <p:spPr bwMode="gray">
          <a:xfrm>
            <a:off x="6716713" y="3792538"/>
            <a:ext cx="830263" cy="4889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latin typeface="Arial"/>
                <a:ea typeface="ＭＳ Ｐゴシック"/>
                <a:sym typeface="Arial"/>
              </a:rPr>
              <a:t>Vivienda </a:t>
            </a:r>
            <a:br>
              <a:rPr lang="es-ES_tradnl">
                <a:latin typeface="Arial"/>
                <a:ea typeface="ＭＳ Ｐゴシック"/>
                <a:sym typeface="Arial"/>
              </a:rPr>
            </a:br>
            <a:r>
              <a:rPr lang="es-ES_tradnl">
                <a:latin typeface="Arial"/>
                <a:ea typeface="ＭＳ Ｐゴシック"/>
                <a:sym typeface="Arial"/>
              </a:rPr>
              <a:t>privada</a:t>
            </a:r>
          </a:p>
        </p:txBody>
      </p:sp>
      <p:sp>
        <p:nvSpPr>
          <p:cNvPr id="56" name="Rectangle 55">
            <a:extLst>
              <a:ext uri="{FF2B5EF4-FFF2-40B4-BE49-F238E27FC236}">
                <a16:creationId xmlns:a16="http://schemas.microsoft.com/office/drawing/2014/main" id="{11F8702E-2C2C-4C49-84C4-61458B9B32F2}"/>
              </a:ext>
            </a:extLst>
          </p:cNvPr>
          <p:cNvSpPr>
            <a:spLocks noGrp="1" noChangeArrowheads="1"/>
          </p:cNvSpPr>
          <p:nvPr>
            <p:custDataLst>
              <p:tags r:id="rId28"/>
            </p:custDataLst>
          </p:nvPr>
        </p:nvSpPr>
        <p:spPr bwMode="gray">
          <a:xfrm>
            <a:off x="10123488" y="3914775"/>
            <a:ext cx="333375" cy="24447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 xmlns:a14="http://schemas.microsoft.com/office/drawing/2010/main">
                <a:solidFill>
                  <a:schemeClr val="accent1"/>
                </a:solidFill>
              </a14:hiddenFill>
            </a:ext>
            <a:ext uri="{AF507438-7753-43e0-B8FC-AC1667EBCBE1}">
              <a14:hiddenEffects xmlns:lc="http://schemas.openxmlformats.org/drawingml/2006/lockedCanvas" xmln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1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68" indent="-192081" algn="l" defTabSz="89531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83" indent="-261928" algn="l" defTabSz="89531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41" indent="-155569" algn="l" defTabSz="89531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106C96C-0FB8-4623-A96D-A968CE9EA57A}" type="datetime'''''''0''''.''''''8'''''''''''''''''''''''''''''''">
              <a:rPr lang="es-CO" altLang="en-US">
                <a:latin typeface="Arial" panose="020B0604020202020204" pitchFamily="34" charset="0"/>
                <a:ea typeface="ＭＳ Ｐゴシック" panose="020B0600070205080204" pitchFamily="34" charset="-128"/>
                <a:sym typeface="Arial" panose="020B0604020202020204" pitchFamily="34" charset="0"/>
              </a:rPr>
              <a:pPr algn="ctr"/>
              <a:t>0.8</a:t>
            </a:fld>
            <a:endParaRPr lang="es-CO"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45" name="Text Placeholder 35"/>
          <p:cNvSpPr>
            <a:spLocks noGrp="1"/>
          </p:cNvSpPr>
          <p:nvPr>
            <p:custDataLst>
              <p:tags r:id="rId29"/>
            </p:custDataLst>
          </p:nvPr>
        </p:nvSpPr>
        <p:spPr bwMode="gray">
          <a:xfrm>
            <a:off x="6716713" y="2725738"/>
            <a:ext cx="768349" cy="4889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dirty="0">
                <a:latin typeface="Arial"/>
                <a:ea typeface="ＭＳ Ｐゴシック"/>
                <a:sym typeface="Arial"/>
              </a:rPr>
              <a:t>Total de </a:t>
            </a:r>
            <a:br>
              <a:rPr lang="es-ES_tradnl" dirty="0">
                <a:latin typeface="Arial"/>
                <a:ea typeface="ＭＳ Ｐゴシック"/>
                <a:sym typeface="Arial"/>
              </a:rPr>
            </a:br>
            <a:r>
              <a:rPr lang="es-ES_tradnl" dirty="0">
                <a:latin typeface="Arial"/>
                <a:ea typeface="ＭＳ Ｐゴシック"/>
                <a:sym typeface="Arial"/>
              </a:rPr>
              <a:t>hogares</a:t>
            </a:r>
          </a:p>
        </p:txBody>
      </p:sp>
      <p:sp>
        <p:nvSpPr>
          <p:cNvPr id="147" name="Text Placeholder 37"/>
          <p:cNvSpPr>
            <a:spLocks noGrp="1"/>
          </p:cNvSpPr>
          <p:nvPr>
            <p:custDataLst>
              <p:tags r:id="rId30"/>
            </p:custDataLst>
          </p:nvPr>
        </p:nvSpPr>
        <p:spPr bwMode="gray">
          <a:xfrm>
            <a:off x="6716713" y="4737100"/>
            <a:ext cx="923925" cy="73342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latin typeface="Arial"/>
                <a:ea typeface="ＭＳ Ｐゴシック"/>
                <a:sym typeface="Arial"/>
              </a:rPr>
              <a:t>Vivienda </a:t>
            </a:r>
            <a:br>
              <a:rPr lang="es-ES_tradnl">
                <a:latin typeface="Arial"/>
                <a:ea typeface="ＭＳ Ｐゴシック"/>
                <a:sym typeface="Arial"/>
              </a:rPr>
            </a:br>
            <a:r>
              <a:rPr lang="es-ES_tradnl">
                <a:latin typeface="Arial"/>
                <a:ea typeface="ＭＳ Ｐゴシック"/>
                <a:sym typeface="Arial"/>
              </a:rPr>
              <a:t>pública </a:t>
            </a:r>
            <a:br>
              <a:rPr lang="es-ES_tradnl">
                <a:latin typeface="Arial"/>
                <a:ea typeface="ＭＳ Ｐゴシック"/>
                <a:sym typeface="Arial"/>
              </a:rPr>
            </a:br>
            <a:r>
              <a:rPr lang="es-ES_tradnl">
                <a:latin typeface="Arial"/>
                <a:ea typeface="ＭＳ Ｐゴシック"/>
                <a:sym typeface="Arial"/>
              </a:rPr>
              <a:t>asequible </a:t>
            </a:r>
          </a:p>
        </p:txBody>
      </p:sp>
      <p:sp>
        <p:nvSpPr>
          <p:cNvPr id="57" name="Rectangle 56">
            <a:extLst>
              <a:ext uri="{FF2B5EF4-FFF2-40B4-BE49-F238E27FC236}">
                <a16:creationId xmlns:a16="http://schemas.microsoft.com/office/drawing/2014/main" id="{F6E350C4-D17B-4BE7-AACC-A1766AE6AE3A}"/>
              </a:ext>
            </a:extLst>
          </p:cNvPr>
          <p:cNvSpPr>
            <a:spLocks noGrp="1" noChangeArrowheads="1"/>
          </p:cNvSpPr>
          <p:nvPr>
            <p:custDataLst>
              <p:tags r:id="rId31"/>
            </p:custDataLst>
          </p:nvPr>
        </p:nvSpPr>
        <p:spPr bwMode="gray">
          <a:xfrm>
            <a:off x="9290050" y="4981575"/>
            <a:ext cx="333375" cy="244476"/>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 uri="{909E8E84-426E-40dd-AFC4-6F175D3DCCD1}">
              <a14:hiddenFill xmlns:lc="http://schemas.openxmlformats.org/drawingml/2006/lockedCanvas" xmlns="" xmlns:a14="http://schemas.microsoft.com/office/drawing/2010/main">
                <a:solidFill>
                  <a:schemeClr val="accent1"/>
                </a:solidFill>
              </a14:hiddenFill>
            </a:ext>
            <a:ext uri="{AF507438-7753-43e0-B8FC-AC1667EBCBE1}">
              <a14:hiddenEffects xmlns:lc="http://schemas.openxmlformats.org/drawingml/2006/lockedCanvas" xmln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1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68" indent="-192081" algn="l" defTabSz="89531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83" indent="-261928" algn="l" defTabSz="89531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41" indent="-155569" algn="l" defTabSz="89531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80" indent="-130170" algn="l" defTabSz="89531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58043CB-FFE7-4F11-ABD4-6A2D2330F76D}" type="datetime'''''''''''''''''0''''''''''.''''''''''6'''''''''''''''''''">
              <a:rPr lang="es-CO" altLang="en-US">
                <a:latin typeface="Arial" panose="020B0604020202020204" pitchFamily="34" charset="0"/>
                <a:ea typeface="ＭＳ Ｐゴシック" panose="020B0600070205080204" pitchFamily="34" charset="-128"/>
                <a:sym typeface="Arial" panose="020B0604020202020204" pitchFamily="34" charset="0"/>
              </a:rPr>
              <a:pPr/>
              <a:t>0.6</a:t>
            </a:fld>
            <a:endParaRPr lang="es-CO" dirty="0">
              <a:latin typeface="Arial" panose="020B0604020202020204" pitchFamily="34" charset="0"/>
              <a:ea typeface="ＭＳ Ｐゴシック" panose="020B0600070205080204" pitchFamily="34" charset="-128"/>
              <a:sym typeface="Arial" panose="020B0604020202020204" pitchFamily="34" charset="0"/>
            </a:endParaRPr>
          </a:p>
        </p:txBody>
      </p:sp>
      <p:pic>
        <p:nvPicPr>
          <p:cNvPr id="47" name="Picture 46"/>
          <p:cNvPicPr>
            <a:picLocks/>
          </p:cNvPicPr>
          <p:nvPr/>
        </p:nvPicPr>
        <p:blipFill>
          <a:blip r:embed="rId45" cstate="email">
            <a:extLst>
              <a:ext uri="{28A0092B-C50C-407E-A947-70E740481C1C}">
                <a14:useLocalDpi xmlns:a14="http://schemas.microsoft.com/office/drawing/2010/main"/>
              </a:ext>
            </a:extLst>
          </a:blip>
          <a:stretch>
            <a:fillRect/>
          </a:stretch>
        </p:blipFill>
        <p:spPr>
          <a:xfrm>
            <a:off x="9739645" y="513958"/>
            <a:ext cx="550530" cy="366352"/>
          </a:xfrm>
          <a:prstGeom prst="rect">
            <a:avLst/>
          </a:prstGeom>
          <a:ln>
            <a:noFill/>
          </a:ln>
          <a:extLst>
            <a:ext uri="{91240B29-F687-4f45-9708-019B960494DF}">
              <a14:hiddenLine xmlns:a14="http://schemas.microsoft.com/office/drawing/2010/main" xmlns="">
                <a:solidFill>
                  <a:schemeClr val="bg2">
                    <a:lumMod val="85000"/>
                  </a:schemeClr>
                </a:solidFill>
              </a14:hiddenLine>
            </a:ext>
          </a:extLst>
        </p:spPr>
      </p:pic>
      <p:sp>
        <p:nvSpPr>
          <p:cNvPr id="94" name="Rectangle 93"/>
          <p:cNvSpPr/>
          <p:nvPr/>
        </p:nvSpPr>
        <p:spPr bwMode="gray">
          <a:xfrm>
            <a:off x="6619548" y="4522790"/>
            <a:ext cx="3175423" cy="1163924"/>
          </a:xfrm>
          <a:prstGeom prst="rect">
            <a:avLst/>
          </a:prstGeom>
          <a:noFill/>
          <a:ln w="190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a:solidFill>
                <a:schemeClr val="tx1"/>
              </a:solidFill>
            </a:endParaRPr>
          </a:p>
        </p:txBody>
      </p:sp>
      <p:sp>
        <p:nvSpPr>
          <p:cNvPr id="3" name="TextBox 2"/>
          <p:cNvSpPr txBox="1"/>
          <p:nvPr/>
        </p:nvSpPr>
        <p:spPr>
          <a:xfrm>
            <a:off x="1679115" y="1159130"/>
            <a:ext cx="4029922"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b="1" dirty="0">
                <a:solidFill>
                  <a:schemeClr val="tx2"/>
                </a:solidFill>
              </a:rPr>
              <a:t>La expansión ferroviaria desbloqueó nuevas tierras urbanas ...</a:t>
            </a:r>
          </a:p>
        </p:txBody>
      </p:sp>
      <p:sp>
        <p:nvSpPr>
          <p:cNvPr id="6" name="TextBox 5"/>
          <p:cNvSpPr txBox="1"/>
          <p:nvPr/>
        </p:nvSpPr>
        <p:spPr>
          <a:xfrm>
            <a:off x="6723498" y="1159130"/>
            <a:ext cx="5042818"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b="1" dirty="0">
                <a:solidFill>
                  <a:schemeClr val="tx2"/>
                </a:solidFill>
              </a:rPr>
              <a:t>... proporcionando 0,6 millones de viviendas asequibles</a:t>
            </a:r>
          </a:p>
        </p:txBody>
      </p:sp>
      <p:sp>
        <p:nvSpPr>
          <p:cNvPr id="60" name="Oval 59">
            <a:extLst>
              <a:ext uri="{FF2B5EF4-FFF2-40B4-BE49-F238E27FC236}">
                <a16:creationId xmlns:a16="http://schemas.microsoft.com/office/drawing/2014/main" id="{EC33EE80-C38E-40B7-9330-342C7F65B722}"/>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ES_tradnl" sz="1900" b="1">
                <a:solidFill>
                  <a:schemeClr val="bg1"/>
                </a:solidFill>
              </a:rPr>
              <a:t>1A</a:t>
            </a:r>
          </a:p>
        </p:txBody>
      </p:sp>
      <p:grpSp>
        <p:nvGrpSpPr>
          <p:cNvPr id="66" name="Group 65">
            <a:extLst>
              <a:ext uri="{FF2B5EF4-FFF2-40B4-BE49-F238E27FC236}">
                <a16:creationId xmlns:a16="http://schemas.microsoft.com/office/drawing/2014/main" id="{D32862E2-6D27-4305-9966-930BD5B81A70}"/>
              </a:ext>
            </a:extLst>
          </p:cNvPr>
          <p:cNvGrpSpPr/>
          <p:nvPr/>
        </p:nvGrpSpPr>
        <p:grpSpPr>
          <a:xfrm>
            <a:off x="6043124" y="1149775"/>
            <a:ext cx="440790" cy="640972"/>
            <a:chOff x="4463432" y="1355375"/>
            <a:chExt cx="158008" cy="229767"/>
          </a:xfrm>
        </p:grpSpPr>
        <p:sp>
          <p:nvSpPr>
            <p:cNvPr id="67" name="Chevron1">
              <a:extLst>
                <a:ext uri="{FF2B5EF4-FFF2-40B4-BE49-F238E27FC236}">
                  <a16:creationId xmlns:a16="http://schemas.microsoft.com/office/drawing/2014/main" id="{5CD7834B-3D4A-4E44-B2BF-9117ADC9D1F7}"/>
                </a:ext>
              </a:extLst>
            </p:cNvPr>
            <p:cNvSpPr>
              <a:spLocks noChangeAspect="1"/>
            </p:cNvSpPr>
            <p:nvPr/>
          </p:nvSpPr>
          <p:spPr>
            <a:xfrm>
              <a:off x="4463432" y="1355375"/>
              <a:ext cx="99168" cy="229767"/>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chemeClr val="tx1"/>
                </a:solidFill>
              </a:endParaRPr>
            </a:p>
          </p:txBody>
        </p:sp>
        <p:sp>
          <p:nvSpPr>
            <p:cNvPr id="68" name="Chevron2">
              <a:extLst>
                <a:ext uri="{FF2B5EF4-FFF2-40B4-BE49-F238E27FC236}">
                  <a16:creationId xmlns:a16="http://schemas.microsoft.com/office/drawing/2014/main" id="{686D05F6-5EF0-403F-8D72-CC7E30E293A3}"/>
                </a:ext>
              </a:extLst>
            </p:cNvPr>
            <p:cNvSpPr>
              <a:spLocks noChangeAspect="1"/>
            </p:cNvSpPr>
            <p:nvPr>
              <p:custDataLst>
                <p:tags r:id="rId32"/>
              </p:custDataLst>
            </p:nvPr>
          </p:nvSpPr>
          <p:spPr>
            <a:xfrm>
              <a:off x="4522272" y="1355375"/>
              <a:ext cx="99168" cy="229767"/>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chemeClr val="tx1"/>
                </a:solidFill>
              </a:endParaRPr>
            </a:p>
          </p:txBody>
        </p:sp>
      </p:grpSp>
    </p:spTree>
    <p:extLst>
      <p:ext uri="{BB962C8B-B14F-4D97-AF65-F5344CB8AC3E}">
        <p14:creationId xmlns:p14="http://schemas.microsoft.com/office/powerpoint/2010/main" val="1629515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5401B765-8B3F-4996-B61C-572CC91805BB}"/>
              </a:ext>
            </a:extLst>
          </p:cNvPr>
          <p:cNvGraphicFramePr>
            <a:graphicFrameLocks noChangeAspect="1"/>
          </p:cNvGraphicFramePr>
          <p:nvPr>
            <p:custDataLst>
              <p:tags r:id="rId2"/>
            </p:custDataLst>
            <p:extLst>
              <p:ext uri="{D42A27DB-BD31-4B8C-83A1-F6EECF244321}">
                <p14:modId xmlns:p14="http://schemas.microsoft.com/office/powerpoint/2010/main" val="3679808225"/>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29086" name="think-cell Slide" r:id="rId5" imgW="493" imgH="493" progId="TCLayout.ActiveDocument.1">
                  <p:embed/>
                </p:oleObj>
              </mc:Choice>
              <mc:Fallback>
                <p:oleObj name="think-cell Slide" r:id="rId5" imgW="493" imgH="493" progId="TCLayout.ActiveDocument.1">
                  <p:embed/>
                  <p:pic>
                    <p:nvPicPr>
                      <p:cNvPr id="26" name="Object 25" hidden="1">
                        <a:extLst>
                          <a:ext uri="{FF2B5EF4-FFF2-40B4-BE49-F238E27FC236}">
                            <a16:creationId xmlns:a16="http://schemas.microsoft.com/office/drawing/2014/main" id="{5401B765-8B3F-4996-B61C-572CC91805BB}"/>
                          </a:ext>
                        </a:extLst>
                      </p:cNvPr>
                      <p:cNvPicPr/>
                      <p:nvPr/>
                    </p:nvPicPr>
                    <p:blipFill>
                      <a:blip r:embed="rId6"/>
                      <a:stretch>
                        <a:fillRect/>
                      </a:stretch>
                    </p:blipFill>
                    <p:spPr>
                      <a:xfrm>
                        <a:off x="1495426" y="1589"/>
                        <a:ext cx="1586" cy="1586"/>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0EE7037D-8691-474B-9A87-4CC31D51827D}"/>
              </a:ext>
            </a:extLst>
          </p:cNvPr>
          <p:cNvPicPr>
            <a:picLocks/>
          </p:cNvPicPr>
          <p:nvPr/>
        </p:nvPicPr>
        <p:blipFill rotWithShape="1">
          <a:blip r:embed="rId7">
            <a:extLst>
              <a:ext uri="{837473B0-CC2E-450A-ABE3-18F120FF3D39}">
                <a1611:picAttrSrcUrl xmlns:a1611="http://schemas.microsoft.com/office/drawing/2016/11/main" r:id="rId8"/>
              </a:ext>
            </a:extLst>
          </a:blip>
          <a:srcRect l="2713" t="35870" r="2713" b="11212"/>
          <a:stretch/>
        </p:blipFill>
        <p:spPr>
          <a:xfrm>
            <a:off x="588397" y="1203767"/>
            <a:ext cx="11131826" cy="4719955"/>
          </a:xfrm>
          <a:prstGeom prst="rect">
            <a:avLst/>
          </a:prstGeom>
        </p:spPr>
      </p:pic>
      <p:grpSp>
        <p:nvGrpSpPr>
          <p:cNvPr id="18" name="Group 17">
            <a:extLst>
              <a:ext uri="{FF2B5EF4-FFF2-40B4-BE49-F238E27FC236}">
                <a16:creationId xmlns:a16="http://schemas.microsoft.com/office/drawing/2014/main" id="{57582994-9C22-40E7-8D2E-4850994754A6}"/>
              </a:ext>
            </a:extLst>
          </p:cNvPr>
          <p:cNvGrpSpPr/>
          <p:nvPr/>
        </p:nvGrpSpPr>
        <p:grpSpPr>
          <a:xfrm>
            <a:off x="587607" y="1203767"/>
            <a:ext cx="11132616" cy="4719955"/>
            <a:chOff x="587607" y="6807568"/>
            <a:chExt cx="11132616" cy="4719955"/>
          </a:xfrm>
        </p:grpSpPr>
        <p:sp>
          <p:nvSpPr>
            <p:cNvPr id="20" name="Rectangle 19">
              <a:extLst>
                <a:ext uri="{FF2B5EF4-FFF2-40B4-BE49-F238E27FC236}">
                  <a16:creationId xmlns:a16="http://schemas.microsoft.com/office/drawing/2014/main" id="{42C2CFA7-4E49-4B37-8BF5-3DE6C08FAB45}"/>
                </a:ext>
              </a:extLst>
            </p:cNvPr>
            <p:cNvSpPr>
              <a:spLocks/>
            </p:cNvSpPr>
            <p:nvPr/>
          </p:nvSpPr>
          <p:spPr>
            <a:xfrm>
              <a:off x="587607" y="6807568"/>
              <a:ext cx="11131826" cy="4719955"/>
            </a:xfrm>
            <a:prstGeom prst="rect">
              <a:avLst/>
            </a:prstGeom>
            <a:gradFill>
              <a:gsLst>
                <a:gs pos="71000">
                  <a:srgbClr val="FFFFFF">
                    <a:alpha val="0"/>
                  </a:srgbClr>
                </a:gs>
                <a:gs pos="27000">
                  <a:schemeClr val="bg1">
                    <a:alpha val="0"/>
                  </a:schemeClr>
                </a:gs>
                <a:gs pos="0">
                  <a:schemeClr val="bg1"/>
                </a:gs>
                <a:gs pos="100000">
                  <a:schemeClr val="bg1"/>
                </a:gs>
              </a:gsLst>
              <a:lin ang="162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sz="1400">
                <a:solidFill>
                  <a:schemeClr val="tx1"/>
                </a:solidFill>
              </a:endParaRPr>
            </a:p>
          </p:txBody>
        </p:sp>
        <p:sp>
          <p:nvSpPr>
            <p:cNvPr id="21" name="Rectangle 20">
              <a:extLst>
                <a:ext uri="{FF2B5EF4-FFF2-40B4-BE49-F238E27FC236}">
                  <a16:creationId xmlns:a16="http://schemas.microsoft.com/office/drawing/2014/main" id="{4D7FE059-087D-4F60-86F2-87AB65CA8D69}"/>
                </a:ext>
              </a:extLst>
            </p:cNvPr>
            <p:cNvSpPr>
              <a:spLocks/>
            </p:cNvSpPr>
            <p:nvPr/>
          </p:nvSpPr>
          <p:spPr>
            <a:xfrm>
              <a:off x="588397" y="6807568"/>
              <a:ext cx="11131826" cy="4719955"/>
            </a:xfrm>
            <a:prstGeom prst="rect">
              <a:avLst/>
            </a:prstGeom>
            <a:gradFill>
              <a:gsLst>
                <a:gs pos="88000">
                  <a:srgbClr val="FFFFFF">
                    <a:alpha val="0"/>
                  </a:srgbClr>
                </a:gs>
                <a:gs pos="13000">
                  <a:schemeClr val="bg1">
                    <a:alpha val="0"/>
                  </a:schemeClr>
                </a:gs>
                <a:gs pos="0">
                  <a:schemeClr val="bg1"/>
                </a:gs>
                <a:gs pos="100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sz="1400">
                <a:solidFill>
                  <a:schemeClr val="tx1"/>
                </a:solidFill>
              </a:endParaRPr>
            </a:p>
          </p:txBody>
        </p:sp>
      </p:grpSp>
      <p:sp>
        <p:nvSpPr>
          <p:cNvPr id="2" name="Title 1">
            <a:extLst>
              <a:ext uri="{FF2B5EF4-FFF2-40B4-BE49-F238E27FC236}">
                <a16:creationId xmlns:a16="http://schemas.microsoft.com/office/drawing/2014/main" id="{F292A457-6E3F-4BCB-8DF3-BBDE18B5EA66}"/>
              </a:ext>
            </a:extLst>
          </p:cNvPr>
          <p:cNvSpPr>
            <a:spLocks noGrp="1"/>
          </p:cNvSpPr>
          <p:nvPr>
            <p:ph type="title"/>
          </p:nvPr>
        </p:nvSpPr>
        <p:spPr>
          <a:xfrm>
            <a:off x="739141" y="353603"/>
            <a:ext cx="9420860"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17513"/>
            <a:r>
              <a:rPr lang="es-AR" dirty="0"/>
              <a:t>Eliminar Barreras: las ciudades pueden desarrollar estructuras de gobierno que representen a todos los stakeholders y optimizar la entrega de viviendas </a:t>
            </a:r>
          </a:p>
        </p:txBody>
      </p:sp>
      <p:sp>
        <p:nvSpPr>
          <p:cNvPr id="3" name="Oval 2">
            <a:extLst>
              <a:ext uri="{FF2B5EF4-FFF2-40B4-BE49-F238E27FC236}">
                <a16:creationId xmlns:a16="http://schemas.microsoft.com/office/drawing/2014/main" id="{C92725C9-CD63-4DF5-AB25-69A1170BA341}"/>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AR" sz="1900" b="1" dirty="0">
                <a:solidFill>
                  <a:schemeClr val="bg1"/>
                </a:solidFill>
              </a:rPr>
              <a:t>2</a:t>
            </a:r>
          </a:p>
        </p:txBody>
      </p:sp>
      <p:sp>
        <p:nvSpPr>
          <p:cNvPr id="5" name="Rectangle 23">
            <a:extLst>
              <a:ext uri="{FF2B5EF4-FFF2-40B4-BE49-F238E27FC236}">
                <a16:creationId xmlns:a16="http://schemas.microsoft.com/office/drawing/2014/main" id="{D191134F-0052-4702-891F-8D680C509484}"/>
              </a:ext>
            </a:extLst>
          </p:cNvPr>
          <p:cNvSpPr txBox="1">
            <a:spLocks/>
          </p:cNvSpPr>
          <p:nvPr/>
        </p:nvSpPr>
        <p:spPr bwMode="gray">
          <a:xfrm>
            <a:off x="3554233" y="1668322"/>
            <a:ext cx="4643562" cy="523218"/>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sp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AR" b="1" dirty="0">
                <a:solidFill>
                  <a:schemeClr val="bg1"/>
                </a:solidFill>
              </a:rPr>
              <a:t>Coordinar a través de laboratorios de entrega o agencias de vivienda integradas </a:t>
            </a:r>
          </a:p>
        </p:txBody>
      </p:sp>
      <p:sp>
        <p:nvSpPr>
          <p:cNvPr id="6" name="Oval 5">
            <a:extLst>
              <a:ext uri="{FF2B5EF4-FFF2-40B4-BE49-F238E27FC236}">
                <a16:creationId xmlns:a16="http://schemas.microsoft.com/office/drawing/2014/main" id="{16FE7BE2-DC39-4A48-A5A5-703BA023023B}"/>
              </a:ext>
            </a:extLst>
          </p:cNvPr>
          <p:cNvSpPr/>
          <p:nvPr/>
        </p:nvSpPr>
        <p:spPr>
          <a:xfrm>
            <a:off x="3396604" y="1815102"/>
            <a:ext cx="229658" cy="229658"/>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400" b="1" dirty="0">
                <a:solidFill>
                  <a:schemeClr val="bg1"/>
                </a:solidFill>
              </a:rPr>
              <a:t>A</a:t>
            </a:r>
          </a:p>
        </p:txBody>
      </p:sp>
      <p:sp>
        <p:nvSpPr>
          <p:cNvPr id="8" name="Rectangle 23">
            <a:extLst>
              <a:ext uri="{FF2B5EF4-FFF2-40B4-BE49-F238E27FC236}">
                <a16:creationId xmlns:a16="http://schemas.microsoft.com/office/drawing/2014/main" id="{721F1DD4-F607-407F-B576-4B4C65A68B4D}"/>
              </a:ext>
            </a:extLst>
          </p:cNvPr>
          <p:cNvSpPr txBox="1">
            <a:spLocks/>
          </p:cNvSpPr>
          <p:nvPr/>
        </p:nvSpPr>
        <p:spPr bwMode="gray">
          <a:xfrm>
            <a:off x="3554233" y="2329859"/>
            <a:ext cx="4643562" cy="523218"/>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AR" b="1" dirty="0">
                <a:solidFill>
                  <a:schemeClr val="bg1"/>
                </a:solidFill>
              </a:rPr>
              <a:t>Involucrar a más stakeholders y superar NIMBYism </a:t>
            </a:r>
          </a:p>
        </p:txBody>
      </p:sp>
      <p:sp>
        <p:nvSpPr>
          <p:cNvPr id="9" name="Oval 8">
            <a:extLst>
              <a:ext uri="{FF2B5EF4-FFF2-40B4-BE49-F238E27FC236}">
                <a16:creationId xmlns:a16="http://schemas.microsoft.com/office/drawing/2014/main" id="{A07C0FE7-FD8A-4462-9673-09383B4A3357}"/>
              </a:ext>
            </a:extLst>
          </p:cNvPr>
          <p:cNvSpPr/>
          <p:nvPr/>
        </p:nvSpPr>
        <p:spPr>
          <a:xfrm>
            <a:off x="3396604" y="2476639"/>
            <a:ext cx="229658" cy="229658"/>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400" b="1" dirty="0">
                <a:solidFill>
                  <a:schemeClr val="bg1"/>
                </a:solidFill>
              </a:rPr>
              <a:t>B</a:t>
            </a:r>
          </a:p>
        </p:txBody>
      </p:sp>
      <p:sp>
        <p:nvSpPr>
          <p:cNvPr id="11" name="Rectangle 23">
            <a:extLst>
              <a:ext uri="{FF2B5EF4-FFF2-40B4-BE49-F238E27FC236}">
                <a16:creationId xmlns:a16="http://schemas.microsoft.com/office/drawing/2014/main" id="{311AC5B4-A782-4107-B694-CFDB55E9E6C6}"/>
              </a:ext>
            </a:extLst>
          </p:cNvPr>
          <p:cNvSpPr txBox="1">
            <a:spLocks/>
          </p:cNvSpPr>
          <p:nvPr/>
        </p:nvSpPr>
        <p:spPr bwMode="gray">
          <a:xfrm>
            <a:off x="3554233" y="2991396"/>
            <a:ext cx="4643562" cy="523218"/>
          </a:xfrm>
          <a:prstGeom prst="rect">
            <a:avLst/>
          </a:prstGeom>
          <a:solidFill>
            <a:schemeClr val="accent1"/>
          </a:solidFill>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AR" b="1" dirty="0">
                <a:solidFill>
                  <a:schemeClr val="tx2"/>
                </a:solidFill>
              </a:rPr>
              <a:t>Optimizar los procesos de aprobación y permisos </a:t>
            </a:r>
          </a:p>
        </p:txBody>
      </p:sp>
      <p:sp>
        <p:nvSpPr>
          <p:cNvPr id="12" name="Oval 11">
            <a:extLst>
              <a:ext uri="{FF2B5EF4-FFF2-40B4-BE49-F238E27FC236}">
                <a16:creationId xmlns:a16="http://schemas.microsoft.com/office/drawing/2014/main" id="{63947B63-28E7-43DF-BD4E-0B473C75247A}"/>
              </a:ext>
            </a:extLst>
          </p:cNvPr>
          <p:cNvSpPr/>
          <p:nvPr/>
        </p:nvSpPr>
        <p:spPr>
          <a:xfrm>
            <a:off x="3396604" y="3138176"/>
            <a:ext cx="229658" cy="229658"/>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400" b="1" dirty="0">
                <a:solidFill>
                  <a:schemeClr val="bg1"/>
                </a:solidFill>
              </a:rPr>
              <a:t>C</a:t>
            </a:r>
          </a:p>
        </p:txBody>
      </p:sp>
      <p:sp>
        <p:nvSpPr>
          <p:cNvPr id="14" name="Rectangle 23">
            <a:extLst>
              <a:ext uri="{FF2B5EF4-FFF2-40B4-BE49-F238E27FC236}">
                <a16:creationId xmlns:a16="http://schemas.microsoft.com/office/drawing/2014/main" id="{E961195E-7CB6-49E8-B5A3-E934F37580CD}"/>
              </a:ext>
            </a:extLst>
          </p:cNvPr>
          <p:cNvSpPr txBox="1">
            <a:spLocks/>
          </p:cNvSpPr>
          <p:nvPr/>
        </p:nvSpPr>
        <p:spPr bwMode="gray">
          <a:xfrm>
            <a:off x="3554233" y="3652933"/>
            <a:ext cx="4643562" cy="523218"/>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AR" b="1" dirty="0">
                <a:solidFill>
                  <a:schemeClr val="bg1"/>
                </a:solidFill>
              </a:rPr>
              <a:t>Ampliar y crear incentivos para la eficiencia y la innovación</a:t>
            </a:r>
          </a:p>
        </p:txBody>
      </p:sp>
      <p:sp>
        <p:nvSpPr>
          <p:cNvPr id="15" name="Oval 14">
            <a:extLst>
              <a:ext uri="{FF2B5EF4-FFF2-40B4-BE49-F238E27FC236}">
                <a16:creationId xmlns:a16="http://schemas.microsoft.com/office/drawing/2014/main" id="{F26D1E2F-FD65-4BDE-A8FA-45CA66942CB6}"/>
              </a:ext>
            </a:extLst>
          </p:cNvPr>
          <p:cNvSpPr/>
          <p:nvPr/>
        </p:nvSpPr>
        <p:spPr>
          <a:xfrm>
            <a:off x="3396604" y="3799713"/>
            <a:ext cx="229658" cy="229658"/>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sz="1400" b="1" dirty="0">
                <a:solidFill>
                  <a:schemeClr val="bg1"/>
                </a:solidFill>
              </a:rPr>
              <a:t>D</a:t>
            </a:r>
          </a:p>
        </p:txBody>
      </p:sp>
      <p:sp>
        <p:nvSpPr>
          <p:cNvPr id="25" name="TextBox 24">
            <a:extLst>
              <a:ext uri="{FF2B5EF4-FFF2-40B4-BE49-F238E27FC236}">
                <a16:creationId xmlns:a16="http://schemas.microsoft.com/office/drawing/2014/main" id="{D7F6E7F3-49EC-46E2-9FD1-FF0717DB075D}"/>
              </a:ext>
            </a:extLst>
          </p:cNvPr>
          <p:cNvSpPr txBox="1"/>
          <p:nvPr/>
        </p:nvSpPr>
        <p:spPr>
          <a:xfrm>
            <a:off x="6153520" y="6294337"/>
            <a:ext cx="3750758" cy="230832"/>
          </a:xfrm>
          <a:prstGeom prst="rect">
            <a:avLst/>
          </a:prstGeom>
          <a:noFill/>
        </p:spPr>
        <p:txBody>
          <a:bodyPr wrap="square" rtlCol="0">
            <a:spAutoFit/>
          </a:bodyPr>
          <a:lstStyle/>
          <a:p>
            <a:r>
              <a:rPr lang="es-AR" sz="900" dirty="0">
                <a:hlinkClick r:id="rId8" tooltip="http://www.whataboutpeace.com/2013_08_01_archive.html"/>
              </a:rPr>
              <a:t>Esta foto</a:t>
            </a:r>
            <a:r>
              <a:rPr lang="es-AR" sz="900" dirty="0"/>
              <a:t> de autor desconocido está licenciada bajo </a:t>
            </a:r>
            <a:r>
              <a:rPr lang="es-AR" sz="900" dirty="0">
                <a:hlinkClick r:id="rId9" tooltip="https://creativecommons.org/licenses/by-nc/3.0/"/>
              </a:rPr>
              <a:t>CC BY-NC</a:t>
            </a:r>
          </a:p>
        </p:txBody>
      </p:sp>
    </p:spTree>
    <p:extLst>
      <p:ext uri="{BB962C8B-B14F-4D97-AF65-F5344CB8AC3E}">
        <p14:creationId xmlns:p14="http://schemas.microsoft.com/office/powerpoint/2010/main" val="11616089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49828709"/>
              </p:ext>
            </p:extLst>
          </p:nvPr>
        </p:nvGraphicFramePr>
        <p:xfrm>
          <a:off x="1495395" y="1757"/>
          <a:ext cx="1555" cy="1555"/>
        </p:xfrm>
        <a:graphic>
          <a:graphicData uri="http://schemas.openxmlformats.org/presentationml/2006/ole">
            <mc:AlternateContent xmlns:mc="http://schemas.openxmlformats.org/markup-compatibility/2006">
              <mc:Choice xmlns:v="urn:schemas-microsoft-com:vml" Requires="v">
                <p:oleObj spid="_x0000_s130109" name="think-cell Slide" r:id="rId9" imgW="530" imgH="528" progId="TCLayout.ActiveDocument.1">
                  <p:embed/>
                </p:oleObj>
              </mc:Choice>
              <mc:Fallback>
                <p:oleObj name="think-cell Slide" r:id="rId9" imgW="530" imgH="528" progId="TCLayout.ActiveDocument.1">
                  <p:embed/>
                  <p:pic>
                    <p:nvPicPr>
                      <p:cNvPr id="30" name="Object 29" hidden="1"/>
                      <p:cNvPicPr/>
                      <p:nvPr/>
                    </p:nvPicPr>
                    <p:blipFill>
                      <a:blip r:embed="rId10"/>
                      <a:stretch>
                        <a:fillRect/>
                      </a:stretch>
                    </p:blipFill>
                    <p:spPr>
                      <a:xfrm>
                        <a:off x="1495395" y="1757"/>
                        <a:ext cx="1555" cy="1555"/>
                      </a:xfrm>
                      <a:prstGeom prst="rect">
                        <a:avLst/>
                      </a:prstGeom>
                    </p:spPr>
                  </p:pic>
                </p:oleObj>
              </mc:Fallback>
            </mc:AlternateContent>
          </a:graphicData>
        </a:graphic>
      </p:graphicFrame>
      <p:pic>
        <p:nvPicPr>
          <p:cNvPr id="4" name="Picture 3"/>
          <p:cNvPicPr>
            <a:picLocks/>
          </p:cNvPicPr>
          <p:nvPr/>
        </p:nvPicPr>
        <p:blipFill rotWithShape="1">
          <a:blip r:embed="rId11" cstate="email">
            <a:extLst>
              <a:ext uri="{28A0092B-C50C-407E-A947-70E740481C1C}">
                <a14:useLocalDpi xmlns:a14="http://schemas.microsoft.com/office/drawing/2010/main"/>
              </a:ext>
            </a:extLst>
          </a:blip>
          <a:srcRect t="31814" b="14908"/>
          <a:stretch/>
        </p:blipFill>
        <p:spPr>
          <a:xfrm>
            <a:off x="568964" y="4928753"/>
            <a:ext cx="11115035" cy="1011073"/>
          </a:xfrm>
          <a:prstGeom prst="rect">
            <a:avLst/>
          </a:prstGeom>
        </p:spPr>
      </p:pic>
      <p:sp>
        <p:nvSpPr>
          <p:cNvPr id="2" name="Title 1"/>
          <p:cNvSpPr>
            <a:spLocks noGrp="1"/>
          </p:cNvSpPr>
          <p:nvPr>
            <p:ph type="title"/>
          </p:nvPr>
        </p:nvSpPr>
        <p:spPr>
          <a:xfrm>
            <a:off x="739141" y="353603"/>
            <a:ext cx="9162242"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17513"/>
            <a:r>
              <a:rPr lang="es-ES_tradnl" dirty="0"/>
              <a:t>Un enfoque de laboratorio de entrega inclusivo garantiza la colaboración y el </a:t>
            </a:r>
            <a:r>
              <a:rPr lang="es-ES_tradnl" dirty="0" err="1"/>
              <a:t>buy</a:t>
            </a:r>
            <a:r>
              <a:rPr lang="es-ES_tradnl" dirty="0"/>
              <a:t> in de los </a:t>
            </a:r>
            <a:r>
              <a:rPr lang="es-ES_tradnl" dirty="0" err="1"/>
              <a:t>stakeholders</a:t>
            </a:r>
            <a:endParaRPr lang="es-ES_tradnl" dirty="0"/>
          </a:p>
        </p:txBody>
      </p:sp>
      <p:sp>
        <p:nvSpPr>
          <p:cNvPr id="16" name="Oval 15"/>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ES_tradnl" sz="1900" b="1">
                <a:solidFill>
                  <a:schemeClr val="bg1"/>
                </a:solidFill>
              </a:rPr>
              <a:t>2A</a:t>
            </a:r>
          </a:p>
        </p:txBody>
      </p:sp>
      <p:sp>
        <p:nvSpPr>
          <p:cNvPr id="11" name="Rectangle 6"/>
          <p:cNvSpPr txBox="1">
            <a:spLocks/>
          </p:cNvSpPr>
          <p:nvPr>
            <p:custDataLst>
              <p:tags r:id="rId3"/>
            </p:custDataLst>
          </p:nvPr>
        </p:nvSpPr>
        <p:spPr>
          <a:xfrm>
            <a:off x="568961" y="1309005"/>
            <a:ext cx="2047700" cy="1484760"/>
          </a:xfrm>
          <a:prstGeom prst="rect">
            <a:avLst/>
          </a:prstGeom>
          <a:solidFill>
            <a:schemeClr val="accent1"/>
          </a:solidFill>
          <a:ln>
            <a:noFill/>
          </a:ln>
        </p:spPr>
        <p:txBody>
          <a:bodyPr vert="horz" lIns="74679" tIns="74679" rIns="74679" bIns="74679" rtlCol="0" anchor="ctr" anchorCtr="0">
            <a:noAutofit/>
          </a:bodyPr>
          <a:lstStyle>
            <a:lvl1pPr marL="0" lvl="0" indent="0" defTabSz="895350" eaLnBrk="1" hangingPunct="1">
              <a:buClr>
                <a:schemeClr val="tx2"/>
              </a:buClr>
              <a:defRPr sz="1600" baseline="0">
                <a:latin typeface="+mn-lt"/>
              </a:defRPr>
            </a:lvl1pPr>
            <a:lvl2pPr marL="193675" lvl="1" indent="-192088" defTabSz="895350" eaLnBrk="1" hangingPunct="1">
              <a:buClr>
                <a:schemeClr val="tx2"/>
              </a:buClr>
              <a:buSzPct val="125000"/>
              <a:buFont typeface="Arial" charset="0"/>
              <a:buChar char="▪"/>
              <a:defRPr sz="1600" baseline="0">
                <a:latin typeface="+mn-lt"/>
              </a:defRPr>
            </a:lvl2pPr>
            <a:lvl3pPr marL="457200" lvl="2" indent="-261938" defTabSz="895350" eaLnBrk="1" hangingPunct="1">
              <a:buClr>
                <a:schemeClr val="tx2"/>
              </a:buClr>
              <a:buSzPct val="120000"/>
              <a:buFont typeface="Arial" charset="0"/>
              <a:buChar char="–"/>
              <a:defRPr sz="1600" baseline="0">
                <a:latin typeface="+mn-lt"/>
              </a:defRPr>
            </a:lvl3pPr>
            <a:lvl4pPr marL="614363" lvl="3" indent="-155575" defTabSz="895350" eaLnBrk="1" hangingPunct="1">
              <a:buClr>
                <a:schemeClr val="tx2"/>
              </a:buClr>
              <a:buSzPct val="120000"/>
              <a:buFont typeface="Arial" charset="0"/>
              <a:buChar char="▫"/>
              <a:defRPr sz="1600" baseline="0">
                <a:latin typeface="+mn-lt"/>
              </a:defRPr>
            </a:lvl4pPr>
            <a:lvl5pPr marL="749808" lvl="4" indent="-130175"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ct val="10000"/>
              </a:spcBef>
            </a:pPr>
            <a:r>
              <a:rPr lang="es-ES_tradnl" sz="1300" b="1" dirty="0">
                <a:solidFill>
                  <a:schemeClr val="tx2"/>
                </a:solidFill>
              </a:rPr>
              <a:t>Talleres con otras entidades gubernamentales</a:t>
            </a:r>
            <a:r>
              <a:rPr lang="es-ES_tradnl" sz="1300" dirty="0"/>
              <a:t> (p. ej., </a:t>
            </a:r>
            <a:r>
              <a:rPr lang="es-ES_tradnl" sz="1300" dirty="0" err="1"/>
              <a:t>MoF</a:t>
            </a:r>
            <a:r>
              <a:rPr lang="es-ES_tradnl" sz="1300" dirty="0"/>
              <a:t>, municipalidades, etc.)</a:t>
            </a:r>
          </a:p>
        </p:txBody>
      </p:sp>
      <p:pic>
        <p:nvPicPr>
          <p:cNvPr id="3" name="Picture 2"/>
          <p:cNvPicPr>
            <a:picLocks/>
          </p:cNvPicPr>
          <p:nvPr/>
        </p:nvPicPr>
        <p:blipFill rotWithShape="1">
          <a:blip r:embed="rId12" cstate="email">
            <a:extLst>
              <a:ext uri="{28A0092B-C50C-407E-A947-70E740481C1C}">
                <a14:useLocalDpi xmlns:a14="http://schemas.microsoft.com/office/drawing/2010/main"/>
              </a:ext>
            </a:extLst>
          </a:blip>
          <a:srcRect t="8934" b="18357"/>
          <a:stretch/>
        </p:blipFill>
        <p:spPr>
          <a:xfrm>
            <a:off x="2727082" y="1309005"/>
            <a:ext cx="3817716" cy="1479769"/>
          </a:xfrm>
          <a:prstGeom prst="rect">
            <a:avLst/>
          </a:prstGeom>
        </p:spPr>
      </p:pic>
      <p:sp>
        <p:nvSpPr>
          <p:cNvPr id="8" name="Rectangle 6"/>
          <p:cNvSpPr txBox="1">
            <a:spLocks/>
          </p:cNvSpPr>
          <p:nvPr>
            <p:custDataLst>
              <p:tags r:id="rId4"/>
            </p:custDataLst>
          </p:nvPr>
        </p:nvSpPr>
        <p:spPr>
          <a:xfrm>
            <a:off x="9636296" y="2856065"/>
            <a:ext cx="2047700" cy="1479769"/>
          </a:xfrm>
          <a:prstGeom prst="rect">
            <a:avLst/>
          </a:prstGeom>
          <a:solidFill>
            <a:schemeClr val="accent1"/>
          </a:solidFill>
          <a:ln>
            <a:noFill/>
          </a:ln>
        </p:spPr>
        <p:txBody>
          <a:bodyPr vert="horz" lIns="74679" tIns="74679" rIns="74679" bIns="74679" rtlCol="0" anchor="ctr" anchorCtr="0">
            <a:noAutofit/>
          </a:bodyPr>
          <a:lstStyle>
            <a:lvl1pPr marL="0" lvl="0" indent="0" defTabSz="895350" eaLnBrk="1" hangingPunct="1">
              <a:buClr>
                <a:schemeClr val="tx2"/>
              </a:buClr>
              <a:defRPr sz="1600" baseline="0">
                <a:latin typeface="+mn-lt"/>
              </a:defRPr>
            </a:lvl1pPr>
            <a:lvl2pPr marL="193675" lvl="1" indent="-192088" defTabSz="895350" eaLnBrk="1" hangingPunct="1">
              <a:buClr>
                <a:schemeClr val="tx2"/>
              </a:buClr>
              <a:buSzPct val="125000"/>
              <a:buFont typeface="Arial" charset="0"/>
              <a:buChar char="▪"/>
              <a:defRPr sz="1600" baseline="0">
                <a:latin typeface="+mn-lt"/>
              </a:defRPr>
            </a:lvl2pPr>
            <a:lvl3pPr marL="457200" lvl="2" indent="-261938" defTabSz="895350" eaLnBrk="1" hangingPunct="1">
              <a:buClr>
                <a:schemeClr val="tx2"/>
              </a:buClr>
              <a:buSzPct val="120000"/>
              <a:buFont typeface="Arial" charset="0"/>
              <a:buChar char="–"/>
              <a:defRPr sz="1600" baseline="0">
                <a:latin typeface="+mn-lt"/>
              </a:defRPr>
            </a:lvl3pPr>
            <a:lvl4pPr marL="614363" lvl="3" indent="-155575" defTabSz="895350" eaLnBrk="1" hangingPunct="1">
              <a:buClr>
                <a:schemeClr val="tx2"/>
              </a:buClr>
              <a:buSzPct val="120000"/>
              <a:buFont typeface="Arial" charset="0"/>
              <a:buChar char="▫"/>
              <a:defRPr sz="1600" baseline="0">
                <a:latin typeface="+mn-lt"/>
              </a:defRPr>
            </a:lvl4pPr>
            <a:lvl5pPr marL="749808" lvl="4" indent="-130175"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ct val="10000"/>
              </a:spcBef>
            </a:pPr>
            <a:r>
              <a:rPr lang="es-ES_tradnl" sz="1300" b="1">
                <a:solidFill>
                  <a:schemeClr val="tx2"/>
                </a:solidFill>
              </a:rPr>
              <a:t>Involucrar expertos en la materia </a:t>
            </a:r>
          </a:p>
        </p:txBody>
      </p:sp>
      <p:pic>
        <p:nvPicPr>
          <p:cNvPr id="5" name="Picture 4"/>
          <p:cNvPicPr>
            <a:picLocks/>
          </p:cNvPicPr>
          <p:nvPr/>
        </p:nvPicPr>
        <p:blipFill rotWithShape="1">
          <a:blip r:embed="rId13" cstate="email">
            <a:extLst>
              <a:ext uri="{28A0092B-C50C-407E-A947-70E740481C1C}">
                <a14:useLocalDpi xmlns:a14="http://schemas.microsoft.com/office/drawing/2010/main"/>
              </a:ext>
            </a:extLst>
          </a:blip>
          <a:srcRect t="24220" b="3440"/>
          <a:stretch/>
        </p:blipFill>
        <p:spPr>
          <a:xfrm>
            <a:off x="568960" y="2856065"/>
            <a:ext cx="3817716" cy="1479769"/>
          </a:xfrm>
          <a:prstGeom prst="rect">
            <a:avLst/>
          </a:prstGeom>
        </p:spPr>
      </p:pic>
      <p:sp>
        <p:nvSpPr>
          <p:cNvPr id="33" name="Rectangle 6"/>
          <p:cNvSpPr txBox="1">
            <a:spLocks/>
          </p:cNvSpPr>
          <p:nvPr>
            <p:custDataLst>
              <p:tags r:id="rId5"/>
            </p:custDataLst>
          </p:nvPr>
        </p:nvSpPr>
        <p:spPr>
          <a:xfrm>
            <a:off x="4497219" y="2856065"/>
            <a:ext cx="2047700" cy="1479769"/>
          </a:xfrm>
          <a:prstGeom prst="rect">
            <a:avLst/>
          </a:prstGeom>
          <a:solidFill>
            <a:schemeClr val="accent1"/>
          </a:solidFill>
          <a:ln>
            <a:noFill/>
          </a:ln>
        </p:spPr>
        <p:txBody>
          <a:bodyPr vert="horz" lIns="74679" tIns="74679" rIns="74679" bIns="74679" rtlCol="0" anchor="ctr" anchorCtr="0">
            <a:noAutofit/>
          </a:bodyPr>
          <a:lstStyle>
            <a:lvl1pPr marL="0" lvl="0" indent="0" defTabSz="895350" eaLnBrk="1" hangingPunct="1">
              <a:buClr>
                <a:schemeClr val="tx2"/>
              </a:buClr>
              <a:defRPr sz="1600" baseline="0">
                <a:latin typeface="+mn-lt"/>
              </a:defRPr>
            </a:lvl1pPr>
            <a:lvl2pPr marL="193675" lvl="1" indent="-192088" defTabSz="895350" eaLnBrk="1" hangingPunct="1">
              <a:buClr>
                <a:schemeClr val="tx2"/>
              </a:buClr>
              <a:buSzPct val="125000"/>
              <a:buFont typeface="Arial" charset="0"/>
              <a:buChar char="▪"/>
              <a:defRPr sz="1600" baseline="0">
                <a:latin typeface="+mn-lt"/>
              </a:defRPr>
            </a:lvl2pPr>
            <a:lvl3pPr marL="457200" lvl="2" indent="-261938" defTabSz="895350" eaLnBrk="1" hangingPunct="1">
              <a:buClr>
                <a:schemeClr val="tx2"/>
              </a:buClr>
              <a:buSzPct val="120000"/>
              <a:buFont typeface="Arial" charset="0"/>
              <a:buChar char="–"/>
              <a:defRPr sz="1600" baseline="0">
                <a:latin typeface="+mn-lt"/>
              </a:defRPr>
            </a:lvl3pPr>
            <a:lvl4pPr marL="614363" lvl="3" indent="-155575" defTabSz="895350" eaLnBrk="1" hangingPunct="1">
              <a:buClr>
                <a:schemeClr val="tx2"/>
              </a:buClr>
              <a:buSzPct val="120000"/>
              <a:buFont typeface="Arial" charset="0"/>
              <a:buChar char="▫"/>
              <a:defRPr sz="1600" baseline="0">
                <a:latin typeface="+mn-lt"/>
              </a:defRPr>
            </a:lvl4pPr>
            <a:lvl5pPr marL="749808" lvl="4" indent="-130175"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ct val="10000"/>
              </a:spcBef>
            </a:pPr>
            <a:r>
              <a:rPr lang="es-ES_tradnl" sz="1300" b="1">
                <a:solidFill>
                  <a:schemeClr val="tx2"/>
                </a:solidFill>
              </a:rPr>
              <a:t>Talleres del sector privado</a:t>
            </a:r>
            <a:r>
              <a:rPr lang="es-ES_tradnl" sz="1300"/>
              <a:t> (p.ej., bancos, desarrolladores, fundaciones, etc.)</a:t>
            </a:r>
          </a:p>
        </p:txBody>
      </p:sp>
      <p:pic>
        <p:nvPicPr>
          <p:cNvPr id="21" name="Picture 20"/>
          <p:cNvPicPr>
            <a:picLocks/>
          </p:cNvPicPr>
          <p:nvPr/>
        </p:nvPicPr>
        <p:blipFill rotWithShape="1">
          <a:blip r:embed="rId14" cstate="email">
            <a:extLst>
              <a:ext uri="{BEBA8EAE-BF5A-486C-A8C5-ECC9F3942E4B}">
                <a14:imgProps xmlns:a14="http://schemas.microsoft.com/office/drawing/2010/main">
                  <a14:imgLayer r:embed="rId15">
                    <a14:imgEffect>
                      <a14:brightnessContrast bright="20000" contrast="20000"/>
                    </a14:imgEffect>
                  </a14:imgLayer>
                </a14:imgProps>
              </a:ext>
              <a:ext uri="{28A0092B-C50C-407E-A947-70E740481C1C}">
                <a14:useLocalDpi xmlns:a14="http://schemas.microsoft.com/office/drawing/2010/main"/>
              </a:ext>
            </a:extLst>
          </a:blip>
          <a:srcRect t="3768" b="6456"/>
          <a:stretch/>
        </p:blipFill>
        <p:spPr>
          <a:xfrm>
            <a:off x="6655457" y="2856065"/>
            <a:ext cx="2870299" cy="1479769"/>
          </a:xfrm>
          <a:prstGeom prst="rect">
            <a:avLst/>
          </a:prstGeom>
        </p:spPr>
      </p:pic>
      <p:sp>
        <p:nvSpPr>
          <p:cNvPr id="23" name="Rectangle 6"/>
          <p:cNvSpPr txBox="1">
            <a:spLocks/>
          </p:cNvSpPr>
          <p:nvPr>
            <p:custDataLst>
              <p:tags r:id="rId6"/>
            </p:custDataLst>
          </p:nvPr>
        </p:nvSpPr>
        <p:spPr>
          <a:xfrm>
            <a:off x="6655219" y="1309006"/>
            <a:ext cx="2047700" cy="1484760"/>
          </a:xfrm>
          <a:prstGeom prst="rect">
            <a:avLst/>
          </a:prstGeom>
          <a:solidFill>
            <a:schemeClr val="accent1"/>
          </a:solidFill>
          <a:ln>
            <a:noFill/>
          </a:ln>
        </p:spPr>
        <p:txBody>
          <a:bodyPr vert="horz" lIns="74679" tIns="74679" rIns="74679" bIns="74679" rtlCol="0" anchor="ctr" anchorCtr="0">
            <a:noAutofit/>
          </a:bodyPr>
          <a:lstStyle>
            <a:lvl1pPr marL="0" lvl="0" indent="0" defTabSz="895350" eaLnBrk="1" hangingPunct="1">
              <a:buClr>
                <a:schemeClr val="tx2"/>
              </a:buClr>
              <a:defRPr sz="1600" baseline="0">
                <a:latin typeface="+mn-lt"/>
              </a:defRPr>
            </a:lvl1pPr>
            <a:lvl2pPr marL="193675" lvl="1" indent="-192088" defTabSz="895350" eaLnBrk="1" hangingPunct="1">
              <a:buClr>
                <a:schemeClr val="tx2"/>
              </a:buClr>
              <a:buSzPct val="125000"/>
              <a:buFont typeface="Arial" charset="0"/>
              <a:buChar char="▪"/>
              <a:defRPr sz="1600" baseline="0">
                <a:latin typeface="+mn-lt"/>
              </a:defRPr>
            </a:lvl2pPr>
            <a:lvl3pPr marL="457200" lvl="2" indent="-261938" defTabSz="895350" eaLnBrk="1" hangingPunct="1">
              <a:buClr>
                <a:schemeClr val="tx2"/>
              </a:buClr>
              <a:buSzPct val="120000"/>
              <a:buFont typeface="Arial" charset="0"/>
              <a:buChar char="–"/>
              <a:defRPr sz="1600" baseline="0">
                <a:latin typeface="+mn-lt"/>
              </a:defRPr>
            </a:lvl3pPr>
            <a:lvl4pPr marL="614363" lvl="3" indent="-155575" defTabSz="895350" eaLnBrk="1" hangingPunct="1">
              <a:buClr>
                <a:schemeClr val="tx2"/>
              </a:buClr>
              <a:buSzPct val="120000"/>
              <a:buFont typeface="Arial" charset="0"/>
              <a:buChar char="▫"/>
              <a:defRPr sz="1600" baseline="0">
                <a:latin typeface="+mn-lt"/>
              </a:defRPr>
            </a:lvl4pPr>
            <a:lvl5pPr marL="749808" lvl="4" indent="-130175" defTabSz="895350" eaLnBrk="1"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spcBef>
                <a:spcPct val="10000"/>
              </a:spcBef>
            </a:pPr>
            <a:r>
              <a:rPr lang="es-ES_tradnl" sz="1300" b="1">
                <a:solidFill>
                  <a:schemeClr val="tx2"/>
                </a:solidFill>
              </a:rPr>
              <a:t>Grupo de enfoque ciudadano</a:t>
            </a:r>
          </a:p>
        </p:txBody>
      </p:sp>
      <p:pic>
        <p:nvPicPr>
          <p:cNvPr id="29" name="Picture 28"/>
          <p:cNvPicPr>
            <a:picLocks/>
          </p:cNvPicPr>
          <p:nvPr/>
        </p:nvPicPr>
        <p:blipFill rotWithShape="1">
          <a:blip r:embed="rId16" cstate="email">
            <a:extLst>
              <a:ext uri="{28A0092B-C50C-407E-A947-70E740481C1C}">
                <a14:useLocalDpi xmlns:a14="http://schemas.microsoft.com/office/drawing/2010/main"/>
              </a:ext>
            </a:extLst>
          </a:blip>
          <a:srcRect t="4193" b="9633"/>
          <a:stretch/>
        </p:blipFill>
        <p:spPr>
          <a:xfrm>
            <a:off x="8813340" y="1309007"/>
            <a:ext cx="2870659" cy="1484948"/>
          </a:xfrm>
          <a:prstGeom prst="rect">
            <a:avLst/>
          </a:prstGeom>
        </p:spPr>
      </p:pic>
      <p:sp>
        <p:nvSpPr>
          <p:cNvPr id="6" name="Rectangle 5"/>
          <p:cNvSpPr/>
          <p:nvPr/>
        </p:nvSpPr>
        <p:spPr>
          <a:xfrm>
            <a:off x="568964" y="4397947"/>
            <a:ext cx="11115036" cy="46869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300" b="1" dirty="0">
                <a:solidFill>
                  <a:schemeClr val="bg1"/>
                </a:solidFill>
              </a:rPr>
              <a:t>El enfoque de los laboratorios de entrega asegura la creación de planes operacionales de 3 pies con el compromiso de los </a:t>
            </a:r>
            <a:r>
              <a:rPr lang="es-ES_tradnl" sz="1300" b="1" dirty="0" err="1">
                <a:solidFill>
                  <a:schemeClr val="bg1"/>
                </a:solidFill>
              </a:rPr>
              <a:t>stakeholders</a:t>
            </a:r>
            <a:r>
              <a:rPr lang="es-ES_tradnl" sz="1300" b="1" dirty="0">
                <a:solidFill>
                  <a:schemeClr val="bg1"/>
                </a:solidFill>
              </a:rPr>
              <a:t> ​​en hitos y </a:t>
            </a:r>
            <a:r>
              <a:rPr lang="es-ES_tradnl" sz="1300" b="1" dirty="0" err="1">
                <a:solidFill>
                  <a:schemeClr val="bg1"/>
                </a:solidFill>
              </a:rPr>
              <a:t>KPIs</a:t>
            </a:r>
            <a:r>
              <a:rPr lang="es-ES_tradnl" sz="1300" b="1" dirty="0">
                <a:solidFill>
                  <a:schemeClr val="bg1"/>
                </a:solidFill>
              </a:rPr>
              <a:t> claramente definidos</a:t>
            </a:r>
          </a:p>
        </p:txBody>
      </p:sp>
      <p:sp>
        <p:nvSpPr>
          <p:cNvPr id="26" name="Freeform 11"/>
          <p:cNvSpPr>
            <a:spLocks noEditPoints="1"/>
          </p:cNvSpPr>
          <p:nvPr/>
        </p:nvSpPr>
        <p:spPr bwMode="auto">
          <a:xfrm>
            <a:off x="2210463" y="1389271"/>
            <a:ext cx="336488" cy="266880"/>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chemeClr val="tx2"/>
          </a:solidFill>
          <a:ln>
            <a:noFill/>
          </a:ln>
          <a:extLst/>
        </p:spPr>
        <p:txBody>
          <a:bodyPr vert="horz" wrap="square" lIns="91440" tIns="45719" rIns="91440" bIns="45719" numCol="1" anchor="t" anchorCtr="0" compatLnSpc="1">
            <a:prstTxWarp prst="textNoShape">
              <a:avLst/>
            </a:prstTxWarp>
          </a:bodyPr>
          <a:lstStyle/>
          <a:p>
            <a:endParaRPr lang="es-ES_tradnl"/>
          </a:p>
        </p:txBody>
      </p:sp>
      <p:grpSp>
        <p:nvGrpSpPr>
          <p:cNvPr id="35" name="Group 34"/>
          <p:cNvGrpSpPr/>
          <p:nvPr/>
        </p:nvGrpSpPr>
        <p:grpSpPr>
          <a:xfrm>
            <a:off x="8197926" y="1370311"/>
            <a:ext cx="449588" cy="304800"/>
            <a:chOff x="3662363" y="2824163"/>
            <a:chExt cx="682626" cy="592138"/>
          </a:xfrm>
          <a:solidFill>
            <a:schemeClr val="tx2"/>
          </a:solidFill>
        </p:grpSpPr>
        <p:sp>
          <p:nvSpPr>
            <p:cNvPr id="36" name="Oval 53"/>
            <p:cNvSpPr>
              <a:spLocks noChangeArrowheads="1"/>
            </p:cNvSpPr>
            <p:nvPr/>
          </p:nvSpPr>
          <p:spPr bwMode="auto">
            <a:xfrm>
              <a:off x="4235451" y="2938463"/>
              <a:ext cx="57150" cy="69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37" name="Oval 54"/>
            <p:cNvSpPr>
              <a:spLocks noChangeArrowheads="1"/>
            </p:cNvSpPr>
            <p:nvPr/>
          </p:nvSpPr>
          <p:spPr bwMode="auto">
            <a:xfrm>
              <a:off x="3716338" y="2938463"/>
              <a:ext cx="55563" cy="698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38" name="Freeform 55"/>
            <p:cNvSpPr>
              <a:spLocks/>
            </p:cNvSpPr>
            <p:nvPr/>
          </p:nvSpPr>
          <p:spPr bwMode="auto">
            <a:xfrm>
              <a:off x="3662363" y="3006726"/>
              <a:ext cx="125413" cy="352425"/>
            </a:xfrm>
            <a:custGeom>
              <a:avLst/>
              <a:gdLst>
                <a:gd name="T0" fmla="*/ 52 w 52"/>
                <a:gd name="T1" fmla="*/ 80 h 145"/>
                <a:gd name="T2" fmla="*/ 43 w 52"/>
                <a:gd name="T3" fmla="*/ 77 h 145"/>
                <a:gd name="T4" fmla="*/ 40 w 52"/>
                <a:gd name="T5" fmla="*/ 73 h 145"/>
                <a:gd name="T6" fmla="*/ 44 w 52"/>
                <a:gd name="T7" fmla="*/ 0 h 145"/>
                <a:gd name="T8" fmla="*/ 43 w 52"/>
                <a:gd name="T9" fmla="*/ 0 h 145"/>
                <a:gd name="T10" fmla="*/ 34 w 52"/>
                <a:gd name="T11" fmla="*/ 17 h 145"/>
                <a:gd name="T12" fmla="*/ 24 w 52"/>
                <a:gd name="T13" fmla="*/ 0 h 145"/>
                <a:gd name="T14" fmla="*/ 5 w 52"/>
                <a:gd name="T15" fmla="*/ 74 h 145"/>
                <a:gd name="T16" fmla="*/ 13 w 52"/>
                <a:gd name="T17" fmla="*/ 76 h 145"/>
                <a:gd name="T18" fmla="*/ 14 w 52"/>
                <a:gd name="T19" fmla="*/ 62 h 145"/>
                <a:gd name="T20" fmla="*/ 24 w 52"/>
                <a:gd name="T21" fmla="*/ 143 h 145"/>
                <a:gd name="T22" fmla="*/ 44 w 52"/>
                <a:gd name="T23" fmla="*/ 143 h 145"/>
                <a:gd name="T24" fmla="*/ 52 w 52"/>
                <a:gd name="T25" fmla="*/ 81 h 145"/>
                <a:gd name="T26" fmla="*/ 52 w 52"/>
                <a:gd name="T27" fmla="*/ 8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145">
                  <a:moveTo>
                    <a:pt x="52" y="80"/>
                  </a:moveTo>
                  <a:cubicBezTo>
                    <a:pt x="50" y="79"/>
                    <a:pt x="47" y="79"/>
                    <a:pt x="43" y="77"/>
                  </a:cubicBezTo>
                  <a:cubicBezTo>
                    <a:pt x="42" y="76"/>
                    <a:pt x="41" y="74"/>
                    <a:pt x="40" y="73"/>
                  </a:cubicBezTo>
                  <a:cubicBezTo>
                    <a:pt x="37" y="40"/>
                    <a:pt x="38" y="16"/>
                    <a:pt x="44" y="0"/>
                  </a:cubicBezTo>
                  <a:cubicBezTo>
                    <a:pt x="43" y="0"/>
                    <a:pt x="43" y="0"/>
                    <a:pt x="43" y="0"/>
                  </a:cubicBezTo>
                  <a:cubicBezTo>
                    <a:pt x="43" y="0"/>
                    <a:pt x="37" y="4"/>
                    <a:pt x="34" y="17"/>
                  </a:cubicBezTo>
                  <a:cubicBezTo>
                    <a:pt x="31" y="4"/>
                    <a:pt x="24" y="0"/>
                    <a:pt x="24" y="0"/>
                  </a:cubicBezTo>
                  <a:cubicBezTo>
                    <a:pt x="10" y="0"/>
                    <a:pt x="0" y="20"/>
                    <a:pt x="5" y="74"/>
                  </a:cubicBezTo>
                  <a:cubicBezTo>
                    <a:pt x="9" y="76"/>
                    <a:pt x="13" y="76"/>
                    <a:pt x="13" y="76"/>
                  </a:cubicBezTo>
                  <a:cubicBezTo>
                    <a:pt x="13" y="71"/>
                    <a:pt x="14" y="67"/>
                    <a:pt x="14" y="62"/>
                  </a:cubicBezTo>
                  <a:cubicBezTo>
                    <a:pt x="15" y="87"/>
                    <a:pt x="18" y="115"/>
                    <a:pt x="24" y="143"/>
                  </a:cubicBezTo>
                  <a:cubicBezTo>
                    <a:pt x="29" y="145"/>
                    <a:pt x="39" y="145"/>
                    <a:pt x="44" y="143"/>
                  </a:cubicBezTo>
                  <a:cubicBezTo>
                    <a:pt x="48" y="122"/>
                    <a:pt x="51" y="101"/>
                    <a:pt x="52" y="81"/>
                  </a:cubicBezTo>
                  <a:cubicBezTo>
                    <a:pt x="52" y="81"/>
                    <a:pt x="52" y="80"/>
                    <a:pt x="52" y="8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0" name="Freeform 56"/>
            <p:cNvSpPr>
              <a:spLocks/>
            </p:cNvSpPr>
            <p:nvPr/>
          </p:nvSpPr>
          <p:spPr bwMode="auto">
            <a:xfrm>
              <a:off x="4219576" y="3006726"/>
              <a:ext cx="125413" cy="352425"/>
            </a:xfrm>
            <a:custGeom>
              <a:avLst/>
              <a:gdLst>
                <a:gd name="T0" fmla="*/ 28 w 52"/>
                <a:gd name="T1" fmla="*/ 0 h 145"/>
                <a:gd name="T2" fmla="*/ 18 w 52"/>
                <a:gd name="T3" fmla="*/ 17 h 145"/>
                <a:gd name="T4" fmla="*/ 9 w 52"/>
                <a:gd name="T5" fmla="*/ 0 h 145"/>
                <a:gd name="T6" fmla="*/ 9 w 52"/>
                <a:gd name="T7" fmla="*/ 0 h 145"/>
                <a:gd name="T8" fmla="*/ 12 w 52"/>
                <a:gd name="T9" fmla="*/ 73 h 145"/>
                <a:gd name="T10" fmla="*/ 9 w 52"/>
                <a:gd name="T11" fmla="*/ 77 h 145"/>
                <a:gd name="T12" fmla="*/ 0 w 52"/>
                <a:gd name="T13" fmla="*/ 80 h 145"/>
                <a:gd name="T14" fmla="*/ 0 w 52"/>
                <a:gd name="T15" fmla="*/ 81 h 145"/>
                <a:gd name="T16" fmla="*/ 8 w 52"/>
                <a:gd name="T17" fmla="*/ 143 h 145"/>
                <a:gd name="T18" fmla="*/ 28 w 52"/>
                <a:gd name="T19" fmla="*/ 143 h 145"/>
                <a:gd name="T20" fmla="*/ 38 w 52"/>
                <a:gd name="T21" fmla="*/ 62 h 145"/>
                <a:gd name="T22" fmla="*/ 39 w 52"/>
                <a:gd name="T23" fmla="*/ 76 h 145"/>
                <a:gd name="T24" fmla="*/ 47 w 52"/>
                <a:gd name="T25" fmla="*/ 74 h 145"/>
                <a:gd name="T26" fmla="*/ 28 w 52"/>
                <a:gd name="T2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145">
                  <a:moveTo>
                    <a:pt x="28" y="0"/>
                  </a:moveTo>
                  <a:cubicBezTo>
                    <a:pt x="28" y="0"/>
                    <a:pt x="22" y="4"/>
                    <a:pt x="18" y="17"/>
                  </a:cubicBezTo>
                  <a:cubicBezTo>
                    <a:pt x="15" y="4"/>
                    <a:pt x="9" y="0"/>
                    <a:pt x="9" y="0"/>
                  </a:cubicBezTo>
                  <a:cubicBezTo>
                    <a:pt x="9" y="0"/>
                    <a:pt x="9" y="0"/>
                    <a:pt x="9" y="0"/>
                  </a:cubicBezTo>
                  <a:cubicBezTo>
                    <a:pt x="14" y="16"/>
                    <a:pt x="15" y="40"/>
                    <a:pt x="12" y="73"/>
                  </a:cubicBezTo>
                  <a:cubicBezTo>
                    <a:pt x="11" y="74"/>
                    <a:pt x="10" y="76"/>
                    <a:pt x="9" y="77"/>
                  </a:cubicBezTo>
                  <a:cubicBezTo>
                    <a:pt x="5" y="79"/>
                    <a:pt x="2" y="79"/>
                    <a:pt x="0" y="80"/>
                  </a:cubicBezTo>
                  <a:cubicBezTo>
                    <a:pt x="0" y="80"/>
                    <a:pt x="0" y="81"/>
                    <a:pt x="0" y="81"/>
                  </a:cubicBezTo>
                  <a:cubicBezTo>
                    <a:pt x="1" y="101"/>
                    <a:pt x="4" y="122"/>
                    <a:pt x="8" y="143"/>
                  </a:cubicBezTo>
                  <a:cubicBezTo>
                    <a:pt x="13" y="145"/>
                    <a:pt x="23" y="145"/>
                    <a:pt x="28" y="143"/>
                  </a:cubicBezTo>
                  <a:cubicBezTo>
                    <a:pt x="34" y="115"/>
                    <a:pt x="37" y="87"/>
                    <a:pt x="38" y="62"/>
                  </a:cubicBezTo>
                  <a:cubicBezTo>
                    <a:pt x="38" y="67"/>
                    <a:pt x="39" y="71"/>
                    <a:pt x="39" y="76"/>
                  </a:cubicBezTo>
                  <a:cubicBezTo>
                    <a:pt x="39" y="76"/>
                    <a:pt x="43" y="76"/>
                    <a:pt x="47" y="74"/>
                  </a:cubicBezTo>
                  <a:cubicBezTo>
                    <a:pt x="52" y="20"/>
                    <a:pt x="42" y="0"/>
                    <a:pt x="2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1" name="Oval 57"/>
            <p:cNvSpPr>
              <a:spLocks noChangeArrowheads="1"/>
            </p:cNvSpPr>
            <p:nvPr/>
          </p:nvSpPr>
          <p:spPr bwMode="auto">
            <a:xfrm>
              <a:off x="3822701" y="2879726"/>
              <a:ext cx="68263" cy="8572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2" name="Oval 58"/>
            <p:cNvSpPr>
              <a:spLocks noChangeArrowheads="1"/>
            </p:cNvSpPr>
            <p:nvPr/>
          </p:nvSpPr>
          <p:spPr bwMode="auto">
            <a:xfrm>
              <a:off x="4114801" y="2879726"/>
              <a:ext cx="68263" cy="8572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3" name="Freeform 59"/>
            <p:cNvSpPr>
              <a:spLocks/>
            </p:cNvSpPr>
            <p:nvPr/>
          </p:nvSpPr>
          <p:spPr bwMode="auto">
            <a:xfrm>
              <a:off x="4094163" y="2962276"/>
              <a:ext cx="155575" cy="428625"/>
            </a:xfrm>
            <a:custGeom>
              <a:avLst/>
              <a:gdLst>
                <a:gd name="T0" fmla="*/ 34 w 64"/>
                <a:gd name="T1" fmla="*/ 0 h 176"/>
                <a:gd name="T2" fmla="*/ 23 w 64"/>
                <a:gd name="T3" fmla="*/ 21 h 176"/>
                <a:gd name="T4" fmla="*/ 11 w 64"/>
                <a:gd name="T5" fmla="*/ 0 h 176"/>
                <a:gd name="T6" fmla="*/ 4 w 64"/>
                <a:gd name="T7" fmla="*/ 1 h 176"/>
                <a:gd name="T8" fmla="*/ 8 w 64"/>
                <a:gd name="T9" fmla="*/ 87 h 176"/>
                <a:gd name="T10" fmla="*/ 5 w 64"/>
                <a:gd name="T11" fmla="*/ 92 h 176"/>
                <a:gd name="T12" fmla="*/ 0 w 64"/>
                <a:gd name="T13" fmla="*/ 94 h 176"/>
                <a:gd name="T14" fmla="*/ 10 w 64"/>
                <a:gd name="T15" fmla="*/ 174 h 176"/>
                <a:gd name="T16" fmla="*/ 35 w 64"/>
                <a:gd name="T17" fmla="*/ 174 h 176"/>
                <a:gd name="T18" fmla="*/ 47 w 64"/>
                <a:gd name="T19" fmla="*/ 76 h 176"/>
                <a:gd name="T20" fmla="*/ 47 w 64"/>
                <a:gd name="T21" fmla="*/ 93 h 176"/>
                <a:gd name="T22" fmla="*/ 57 w 64"/>
                <a:gd name="T23" fmla="*/ 90 h 176"/>
                <a:gd name="T24" fmla="*/ 34 w 64"/>
                <a:gd name="T2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76">
                  <a:moveTo>
                    <a:pt x="34" y="0"/>
                  </a:moveTo>
                  <a:cubicBezTo>
                    <a:pt x="34" y="0"/>
                    <a:pt x="27" y="5"/>
                    <a:pt x="23" y="21"/>
                  </a:cubicBezTo>
                  <a:cubicBezTo>
                    <a:pt x="19" y="5"/>
                    <a:pt x="11" y="0"/>
                    <a:pt x="11" y="0"/>
                  </a:cubicBezTo>
                  <a:cubicBezTo>
                    <a:pt x="9" y="0"/>
                    <a:pt x="6" y="0"/>
                    <a:pt x="4" y="1"/>
                  </a:cubicBezTo>
                  <a:cubicBezTo>
                    <a:pt x="11" y="20"/>
                    <a:pt x="12" y="49"/>
                    <a:pt x="8" y="87"/>
                  </a:cubicBezTo>
                  <a:cubicBezTo>
                    <a:pt x="8" y="89"/>
                    <a:pt x="7" y="91"/>
                    <a:pt x="5" y="92"/>
                  </a:cubicBezTo>
                  <a:cubicBezTo>
                    <a:pt x="3" y="93"/>
                    <a:pt x="1" y="93"/>
                    <a:pt x="0" y="94"/>
                  </a:cubicBezTo>
                  <a:cubicBezTo>
                    <a:pt x="2" y="119"/>
                    <a:pt x="5" y="147"/>
                    <a:pt x="10" y="174"/>
                  </a:cubicBezTo>
                  <a:cubicBezTo>
                    <a:pt x="17" y="176"/>
                    <a:pt x="29" y="176"/>
                    <a:pt x="35" y="174"/>
                  </a:cubicBezTo>
                  <a:cubicBezTo>
                    <a:pt x="41" y="140"/>
                    <a:pt x="45" y="105"/>
                    <a:pt x="47" y="76"/>
                  </a:cubicBezTo>
                  <a:cubicBezTo>
                    <a:pt x="47" y="81"/>
                    <a:pt x="47" y="86"/>
                    <a:pt x="47" y="93"/>
                  </a:cubicBezTo>
                  <a:cubicBezTo>
                    <a:pt x="47" y="93"/>
                    <a:pt x="52" y="93"/>
                    <a:pt x="57" y="90"/>
                  </a:cubicBezTo>
                  <a:cubicBezTo>
                    <a:pt x="64" y="24"/>
                    <a:pt x="52" y="0"/>
                    <a:pt x="3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4" name="Freeform 60"/>
            <p:cNvSpPr>
              <a:spLocks/>
            </p:cNvSpPr>
            <p:nvPr/>
          </p:nvSpPr>
          <p:spPr bwMode="auto">
            <a:xfrm>
              <a:off x="3759201" y="2962276"/>
              <a:ext cx="155575" cy="428625"/>
            </a:xfrm>
            <a:custGeom>
              <a:avLst/>
              <a:gdLst>
                <a:gd name="T0" fmla="*/ 58 w 64"/>
                <a:gd name="T1" fmla="*/ 92 h 176"/>
                <a:gd name="T2" fmla="*/ 55 w 64"/>
                <a:gd name="T3" fmla="*/ 87 h 176"/>
                <a:gd name="T4" fmla="*/ 59 w 64"/>
                <a:gd name="T5" fmla="*/ 1 h 176"/>
                <a:gd name="T6" fmla="*/ 52 w 64"/>
                <a:gd name="T7" fmla="*/ 0 h 176"/>
                <a:gd name="T8" fmla="*/ 40 w 64"/>
                <a:gd name="T9" fmla="*/ 21 h 176"/>
                <a:gd name="T10" fmla="*/ 29 w 64"/>
                <a:gd name="T11" fmla="*/ 0 h 176"/>
                <a:gd name="T12" fmla="*/ 6 w 64"/>
                <a:gd name="T13" fmla="*/ 90 h 176"/>
                <a:gd name="T14" fmla="*/ 16 w 64"/>
                <a:gd name="T15" fmla="*/ 93 h 176"/>
                <a:gd name="T16" fmla="*/ 16 w 64"/>
                <a:gd name="T17" fmla="*/ 76 h 176"/>
                <a:gd name="T18" fmla="*/ 28 w 64"/>
                <a:gd name="T19" fmla="*/ 174 h 176"/>
                <a:gd name="T20" fmla="*/ 53 w 64"/>
                <a:gd name="T21" fmla="*/ 174 h 176"/>
                <a:gd name="T22" fmla="*/ 64 w 64"/>
                <a:gd name="T23" fmla="*/ 94 h 176"/>
                <a:gd name="T24" fmla="*/ 58 w 64"/>
                <a:gd name="T25" fmla="*/ 9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176">
                  <a:moveTo>
                    <a:pt x="58" y="92"/>
                  </a:moveTo>
                  <a:cubicBezTo>
                    <a:pt x="56" y="91"/>
                    <a:pt x="55" y="89"/>
                    <a:pt x="55" y="87"/>
                  </a:cubicBezTo>
                  <a:cubicBezTo>
                    <a:pt x="51" y="49"/>
                    <a:pt x="52" y="20"/>
                    <a:pt x="59" y="1"/>
                  </a:cubicBezTo>
                  <a:cubicBezTo>
                    <a:pt x="57" y="0"/>
                    <a:pt x="54" y="0"/>
                    <a:pt x="52" y="0"/>
                  </a:cubicBezTo>
                  <a:cubicBezTo>
                    <a:pt x="52" y="0"/>
                    <a:pt x="44" y="5"/>
                    <a:pt x="40" y="21"/>
                  </a:cubicBezTo>
                  <a:cubicBezTo>
                    <a:pt x="37" y="5"/>
                    <a:pt x="29" y="0"/>
                    <a:pt x="29" y="0"/>
                  </a:cubicBezTo>
                  <a:cubicBezTo>
                    <a:pt x="11" y="0"/>
                    <a:pt x="0" y="24"/>
                    <a:pt x="6" y="90"/>
                  </a:cubicBezTo>
                  <a:cubicBezTo>
                    <a:pt x="11" y="93"/>
                    <a:pt x="16" y="93"/>
                    <a:pt x="16" y="93"/>
                  </a:cubicBezTo>
                  <a:cubicBezTo>
                    <a:pt x="16" y="86"/>
                    <a:pt x="16" y="81"/>
                    <a:pt x="16" y="76"/>
                  </a:cubicBezTo>
                  <a:cubicBezTo>
                    <a:pt x="18" y="105"/>
                    <a:pt x="22" y="140"/>
                    <a:pt x="28" y="174"/>
                  </a:cubicBezTo>
                  <a:cubicBezTo>
                    <a:pt x="35" y="176"/>
                    <a:pt x="46" y="176"/>
                    <a:pt x="53" y="174"/>
                  </a:cubicBezTo>
                  <a:cubicBezTo>
                    <a:pt x="58" y="147"/>
                    <a:pt x="62" y="119"/>
                    <a:pt x="64" y="94"/>
                  </a:cubicBezTo>
                  <a:cubicBezTo>
                    <a:pt x="62" y="93"/>
                    <a:pt x="60" y="93"/>
                    <a:pt x="58" y="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5" name="Freeform 61"/>
            <p:cNvSpPr>
              <a:spLocks noEditPoints="1"/>
            </p:cNvSpPr>
            <p:nvPr/>
          </p:nvSpPr>
          <p:spPr bwMode="auto">
            <a:xfrm>
              <a:off x="3887788" y="2824163"/>
              <a:ext cx="231775" cy="592138"/>
            </a:xfrm>
            <a:custGeom>
              <a:avLst/>
              <a:gdLst>
                <a:gd name="T0" fmla="*/ 31 w 95"/>
                <a:gd name="T1" fmla="*/ 16 h 244"/>
                <a:gd name="T2" fmla="*/ 47 w 95"/>
                <a:gd name="T3" fmla="*/ 0 h 244"/>
                <a:gd name="T4" fmla="*/ 64 w 95"/>
                <a:gd name="T5" fmla="*/ 16 h 244"/>
                <a:gd name="T6" fmla="*/ 47 w 95"/>
                <a:gd name="T7" fmla="*/ 40 h 244"/>
                <a:gd name="T8" fmla="*/ 31 w 95"/>
                <a:gd name="T9" fmla="*/ 16 h 244"/>
                <a:gd name="T10" fmla="*/ 44 w 95"/>
                <a:gd name="T11" fmla="*/ 50 h 244"/>
                <a:gd name="T12" fmla="*/ 48 w 95"/>
                <a:gd name="T13" fmla="*/ 72 h 244"/>
                <a:gd name="T14" fmla="*/ 51 w 95"/>
                <a:gd name="T15" fmla="*/ 50 h 244"/>
                <a:gd name="T16" fmla="*/ 48 w 95"/>
                <a:gd name="T17" fmla="*/ 43 h 244"/>
                <a:gd name="T18" fmla="*/ 44 w 95"/>
                <a:gd name="T19" fmla="*/ 50 h 244"/>
                <a:gd name="T20" fmla="*/ 19 w 95"/>
                <a:gd name="T21" fmla="*/ 147 h 244"/>
                <a:gd name="T22" fmla="*/ 19 w 95"/>
                <a:gd name="T23" fmla="*/ 127 h 244"/>
                <a:gd name="T24" fmla="*/ 33 w 95"/>
                <a:gd name="T25" fmla="*/ 241 h 244"/>
                <a:gd name="T26" fmla="*/ 62 w 95"/>
                <a:gd name="T27" fmla="*/ 241 h 244"/>
                <a:gd name="T28" fmla="*/ 76 w 95"/>
                <a:gd name="T29" fmla="*/ 127 h 244"/>
                <a:gd name="T30" fmla="*/ 76 w 95"/>
                <a:gd name="T31" fmla="*/ 147 h 244"/>
                <a:gd name="T32" fmla="*/ 88 w 95"/>
                <a:gd name="T33" fmla="*/ 144 h 244"/>
                <a:gd name="T34" fmla="*/ 61 w 95"/>
                <a:gd name="T35" fmla="*/ 39 h 244"/>
                <a:gd name="T36" fmla="*/ 48 w 95"/>
                <a:gd name="T37" fmla="*/ 79 h 244"/>
                <a:gd name="T38" fmla="*/ 34 w 95"/>
                <a:gd name="T39" fmla="*/ 39 h 244"/>
                <a:gd name="T40" fmla="*/ 7 w 95"/>
                <a:gd name="T41" fmla="*/ 144 h 244"/>
                <a:gd name="T42" fmla="*/ 19 w 95"/>
                <a:gd name="T43" fmla="*/ 14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5" h="244">
                  <a:moveTo>
                    <a:pt x="31" y="16"/>
                  </a:moveTo>
                  <a:cubicBezTo>
                    <a:pt x="31" y="7"/>
                    <a:pt x="38" y="0"/>
                    <a:pt x="47" y="0"/>
                  </a:cubicBezTo>
                  <a:cubicBezTo>
                    <a:pt x="56" y="0"/>
                    <a:pt x="64" y="7"/>
                    <a:pt x="64" y="16"/>
                  </a:cubicBezTo>
                  <a:cubicBezTo>
                    <a:pt x="64" y="25"/>
                    <a:pt x="56" y="40"/>
                    <a:pt x="47" y="40"/>
                  </a:cubicBezTo>
                  <a:cubicBezTo>
                    <a:pt x="38" y="40"/>
                    <a:pt x="31" y="25"/>
                    <a:pt x="31" y="16"/>
                  </a:cubicBezTo>
                  <a:close/>
                  <a:moveTo>
                    <a:pt x="44" y="50"/>
                  </a:moveTo>
                  <a:cubicBezTo>
                    <a:pt x="45" y="54"/>
                    <a:pt x="47" y="62"/>
                    <a:pt x="48" y="72"/>
                  </a:cubicBezTo>
                  <a:cubicBezTo>
                    <a:pt x="49" y="62"/>
                    <a:pt x="50" y="54"/>
                    <a:pt x="51" y="50"/>
                  </a:cubicBezTo>
                  <a:cubicBezTo>
                    <a:pt x="53" y="45"/>
                    <a:pt x="51" y="43"/>
                    <a:pt x="48" y="43"/>
                  </a:cubicBezTo>
                  <a:cubicBezTo>
                    <a:pt x="44" y="43"/>
                    <a:pt x="42" y="45"/>
                    <a:pt x="44" y="50"/>
                  </a:cubicBezTo>
                  <a:close/>
                  <a:moveTo>
                    <a:pt x="19" y="147"/>
                  </a:moveTo>
                  <a:cubicBezTo>
                    <a:pt x="19" y="140"/>
                    <a:pt x="19" y="133"/>
                    <a:pt x="19" y="127"/>
                  </a:cubicBezTo>
                  <a:cubicBezTo>
                    <a:pt x="21" y="162"/>
                    <a:pt x="26" y="202"/>
                    <a:pt x="33" y="241"/>
                  </a:cubicBezTo>
                  <a:cubicBezTo>
                    <a:pt x="41" y="244"/>
                    <a:pt x="54" y="244"/>
                    <a:pt x="62" y="241"/>
                  </a:cubicBezTo>
                  <a:cubicBezTo>
                    <a:pt x="69" y="202"/>
                    <a:pt x="74" y="162"/>
                    <a:pt x="76" y="127"/>
                  </a:cubicBezTo>
                  <a:cubicBezTo>
                    <a:pt x="76" y="133"/>
                    <a:pt x="76" y="140"/>
                    <a:pt x="76" y="147"/>
                  </a:cubicBezTo>
                  <a:cubicBezTo>
                    <a:pt x="76" y="147"/>
                    <a:pt x="82" y="147"/>
                    <a:pt x="88" y="144"/>
                  </a:cubicBezTo>
                  <a:cubicBezTo>
                    <a:pt x="95" y="67"/>
                    <a:pt x="82" y="39"/>
                    <a:pt x="61" y="39"/>
                  </a:cubicBezTo>
                  <a:cubicBezTo>
                    <a:pt x="61" y="39"/>
                    <a:pt x="52" y="60"/>
                    <a:pt x="48" y="79"/>
                  </a:cubicBezTo>
                  <a:cubicBezTo>
                    <a:pt x="43" y="60"/>
                    <a:pt x="34" y="39"/>
                    <a:pt x="34" y="39"/>
                  </a:cubicBezTo>
                  <a:cubicBezTo>
                    <a:pt x="14" y="39"/>
                    <a:pt x="0" y="67"/>
                    <a:pt x="7" y="144"/>
                  </a:cubicBezTo>
                  <a:cubicBezTo>
                    <a:pt x="13" y="147"/>
                    <a:pt x="19" y="147"/>
                    <a:pt x="19"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grpSp>
      <p:grpSp>
        <p:nvGrpSpPr>
          <p:cNvPr id="46" name="Group 45"/>
          <p:cNvGrpSpPr/>
          <p:nvPr/>
        </p:nvGrpSpPr>
        <p:grpSpPr>
          <a:xfrm>
            <a:off x="6108473" y="2894602"/>
            <a:ext cx="375871" cy="292968"/>
            <a:chOff x="1868488" y="2819401"/>
            <a:chExt cx="585788" cy="600075"/>
          </a:xfrm>
          <a:solidFill>
            <a:schemeClr val="tx2"/>
          </a:solidFill>
        </p:grpSpPr>
        <p:sp>
          <p:nvSpPr>
            <p:cNvPr id="47" name="Freeform 49"/>
            <p:cNvSpPr>
              <a:spLocks noEditPoints="1"/>
            </p:cNvSpPr>
            <p:nvPr/>
          </p:nvSpPr>
          <p:spPr bwMode="auto">
            <a:xfrm>
              <a:off x="1993901" y="2819401"/>
              <a:ext cx="460375" cy="600075"/>
            </a:xfrm>
            <a:custGeom>
              <a:avLst/>
              <a:gdLst>
                <a:gd name="T0" fmla="*/ 103 w 189"/>
                <a:gd name="T1" fmla="*/ 89 h 247"/>
                <a:gd name="T2" fmla="*/ 104 w 189"/>
                <a:gd name="T3" fmla="*/ 89 h 247"/>
                <a:gd name="T4" fmla="*/ 83 w 189"/>
                <a:gd name="T5" fmla="*/ 106 h 247"/>
                <a:gd name="T6" fmla="*/ 22 w 189"/>
                <a:gd name="T7" fmla="*/ 106 h 247"/>
                <a:gd name="T8" fmla="*/ 0 w 189"/>
                <a:gd name="T9" fmla="*/ 84 h 247"/>
                <a:gd name="T10" fmla="*/ 0 w 189"/>
                <a:gd name="T11" fmla="*/ 22 h 247"/>
                <a:gd name="T12" fmla="*/ 22 w 189"/>
                <a:gd name="T13" fmla="*/ 0 h 247"/>
                <a:gd name="T14" fmla="*/ 83 w 189"/>
                <a:gd name="T15" fmla="*/ 0 h 247"/>
                <a:gd name="T16" fmla="*/ 105 w 189"/>
                <a:gd name="T17" fmla="*/ 22 h 247"/>
                <a:gd name="T18" fmla="*/ 105 w 189"/>
                <a:gd name="T19" fmla="*/ 50 h 247"/>
                <a:gd name="T20" fmla="*/ 98 w 189"/>
                <a:gd name="T21" fmla="*/ 53 h 247"/>
                <a:gd name="T22" fmla="*/ 96 w 189"/>
                <a:gd name="T23" fmla="*/ 53 h 247"/>
                <a:gd name="T24" fmla="*/ 96 w 189"/>
                <a:gd name="T25" fmla="*/ 22 h 247"/>
                <a:gd name="T26" fmla="*/ 83 w 189"/>
                <a:gd name="T27" fmla="*/ 9 h 247"/>
                <a:gd name="T28" fmla="*/ 22 w 189"/>
                <a:gd name="T29" fmla="*/ 9 h 247"/>
                <a:gd name="T30" fmla="*/ 9 w 189"/>
                <a:gd name="T31" fmla="*/ 22 h 247"/>
                <a:gd name="T32" fmla="*/ 9 w 189"/>
                <a:gd name="T33" fmla="*/ 84 h 247"/>
                <a:gd name="T34" fmla="*/ 22 w 189"/>
                <a:gd name="T35" fmla="*/ 97 h 247"/>
                <a:gd name="T36" fmla="*/ 83 w 189"/>
                <a:gd name="T37" fmla="*/ 97 h 247"/>
                <a:gd name="T38" fmla="*/ 95 w 189"/>
                <a:gd name="T39" fmla="*/ 90 h 247"/>
                <a:gd name="T40" fmla="*/ 97 w 189"/>
                <a:gd name="T41" fmla="*/ 90 h 247"/>
                <a:gd name="T42" fmla="*/ 100 w 189"/>
                <a:gd name="T43" fmla="*/ 90 h 247"/>
                <a:gd name="T44" fmla="*/ 101 w 189"/>
                <a:gd name="T45" fmla="*/ 90 h 247"/>
                <a:gd name="T46" fmla="*/ 103 w 189"/>
                <a:gd name="T47" fmla="*/ 89 h 247"/>
                <a:gd name="T48" fmla="*/ 139 w 189"/>
                <a:gd name="T49" fmla="*/ 54 h 247"/>
                <a:gd name="T50" fmla="*/ 154 w 189"/>
                <a:gd name="T51" fmla="*/ 31 h 247"/>
                <a:gd name="T52" fmla="*/ 139 w 189"/>
                <a:gd name="T53" fmla="*/ 16 h 247"/>
                <a:gd name="T54" fmla="*/ 123 w 189"/>
                <a:gd name="T55" fmla="*/ 31 h 247"/>
                <a:gd name="T56" fmla="*/ 139 w 189"/>
                <a:gd name="T57" fmla="*/ 54 h 247"/>
                <a:gd name="T58" fmla="*/ 152 w 189"/>
                <a:gd name="T59" fmla="*/ 53 h 247"/>
                <a:gd name="T60" fmla="*/ 139 w 189"/>
                <a:gd name="T61" fmla="*/ 91 h 247"/>
                <a:gd name="T62" fmla="*/ 127 w 189"/>
                <a:gd name="T63" fmla="*/ 53 h 247"/>
                <a:gd name="T64" fmla="*/ 81 w 189"/>
                <a:gd name="T65" fmla="*/ 64 h 247"/>
                <a:gd name="T66" fmla="*/ 49 w 189"/>
                <a:gd name="T67" fmla="*/ 49 h 247"/>
                <a:gd name="T68" fmla="*/ 46 w 189"/>
                <a:gd name="T69" fmla="*/ 61 h 247"/>
                <a:gd name="T70" fmla="*/ 99 w 189"/>
                <a:gd name="T71" fmla="*/ 82 h 247"/>
                <a:gd name="T72" fmla="*/ 113 w 189"/>
                <a:gd name="T73" fmla="*/ 87 h 247"/>
                <a:gd name="T74" fmla="*/ 113 w 189"/>
                <a:gd name="T75" fmla="*/ 137 h 247"/>
                <a:gd name="T76" fmla="*/ 126 w 189"/>
                <a:gd name="T77" fmla="*/ 245 h 247"/>
                <a:gd name="T78" fmla="*/ 153 w 189"/>
                <a:gd name="T79" fmla="*/ 245 h 247"/>
                <a:gd name="T80" fmla="*/ 166 w 189"/>
                <a:gd name="T81" fmla="*/ 156 h 247"/>
                <a:gd name="T82" fmla="*/ 152 w 189"/>
                <a:gd name="T83" fmla="*/ 53 h 247"/>
                <a:gd name="T84" fmla="*/ 136 w 189"/>
                <a:gd name="T85" fmla="*/ 64 h 247"/>
                <a:gd name="T86" fmla="*/ 139 w 189"/>
                <a:gd name="T87" fmla="*/ 85 h 247"/>
                <a:gd name="T88" fmla="*/ 143 w 189"/>
                <a:gd name="T89" fmla="*/ 64 h 247"/>
                <a:gd name="T90" fmla="*/ 139 w 189"/>
                <a:gd name="T91" fmla="*/ 57 h 247"/>
                <a:gd name="T92" fmla="*/ 136 w 189"/>
                <a:gd name="T93" fmla="*/ 6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9" h="247">
                  <a:moveTo>
                    <a:pt x="103" y="89"/>
                  </a:moveTo>
                  <a:cubicBezTo>
                    <a:pt x="104" y="89"/>
                    <a:pt x="104" y="89"/>
                    <a:pt x="104" y="89"/>
                  </a:cubicBezTo>
                  <a:cubicBezTo>
                    <a:pt x="102" y="99"/>
                    <a:pt x="93" y="106"/>
                    <a:pt x="83" y="106"/>
                  </a:cubicBezTo>
                  <a:cubicBezTo>
                    <a:pt x="22" y="106"/>
                    <a:pt x="22" y="106"/>
                    <a:pt x="22" y="106"/>
                  </a:cubicBezTo>
                  <a:cubicBezTo>
                    <a:pt x="10" y="106"/>
                    <a:pt x="0" y="96"/>
                    <a:pt x="0" y="84"/>
                  </a:cubicBezTo>
                  <a:cubicBezTo>
                    <a:pt x="0" y="22"/>
                    <a:pt x="0" y="22"/>
                    <a:pt x="0" y="22"/>
                  </a:cubicBezTo>
                  <a:cubicBezTo>
                    <a:pt x="0" y="10"/>
                    <a:pt x="10" y="0"/>
                    <a:pt x="22" y="0"/>
                  </a:cubicBezTo>
                  <a:cubicBezTo>
                    <a:pt x="83" y="0"/>
                    <a:pt x="83" y="0"/>
                    <a:pt x="83" y="0"/>
                  </a:cubicBezTo>
                  <a:cubicBezTo>
                    <a:pt x="95" y="0"/>
                    <a:pt x="105" y="10"/>
                    <a:pt x="105" y="22"/>
                  </a:cubicBezTo>
                  <a:cubicBezTo>
                    <a:pt x="105" y="50"/>
                    <a:pt x="105" y="50"/>
                    <a:pt x="105" y="50"/>
                  </a:cubicBezTo>
                  <a:cubicBezTo>
                    <a:pt x="103" y="51"/>
                    <a:pt x="100" y="52"/>
                    <a:pt x="98" y="53"/>
                  </a:cubicBezTo>
                  <a:cubicBezTo>
                    <a:pt x="98" y="53"/>
                    <a:pt x="97" y="53"/>
                    <a:pt x="96" y="53"/>
                  </a:cubicBezTo>
                  <a:cubicBezTo>
                    <a:pt x="96" y="22"/>
                    <a:pt x="96" y="22"/>
                    <a:pt x="96" y="22"/>
                  </a:cubicBezTo>
                  <a:cubicBezTo>
                    <a:pt x="96" y="15"/>
                    <a:pt x="90" y="9"/>
                    <a:pt x="83" y="9"/>
                  </a:cubicBezTo>
                  <a:cubicBezTo>
                    <a:pt x="22" y="9"/>
                    <a:pt x="22" y="9"/>
                    <a:pt x="22" y="9"/>
                  </a:cubicBezTo>
                  <a:cubicBezTo>
                    <a:pt x="15" y="9"/>
                    <a:pt x="9" y="15"/>
                    <a:pt x="9" y="22"/>
                  </a:cubicBezTo>
                  <a:cubicBezTo>
                    <a:pt x="9" y="84"/>
                    <a:pt x="9" y="84"/>
                    <a:pt x="9" y="84"/>
                  </a:cubicBezTo>
                  <a:cubicBezTo>
                    <a:pt x="9" y="91"/>
                    <a:pt x="15" y="97"/>
                    <a:pt x="22" y="97"/>
                  </a:cubicBezTo>
                  <a:cubicBezTo>
                    <a:pt x="83" y="97"/>
                    <a:pt x="83" y="97"/>
                    <a:pt x="83" y="97"/>
                  </a:cubicBezTo>
                  <a:cubicBezTo>
                    <a:pt x="88" y="97"/>
                    <a:pt x="93" y="94"/>
                    <a:pt x="95" y="90"/>
                  </a:cubicBezTo>
                  <a:cubicBezTo>
                    <a:pt x="96" y="90"/>
                    <a:pt x="96" y="90"/>
                    <a:pt x="97" y="90"/>
                  </a:cubicBezTo>
                  <a:cubicBezTo>
                    <a:pt x="98" y="90"/>
                    <a:pt x="99" y="90"/>
                    <a:pt x="100" y="90"/>
                  </a:cubicBezTo>
                  <a:cubicBezTo>
                    <a:pt x="101" y="90"/>
                    <a:pt x="101" y="90"/>
                    <a:pt x="101" y="90"/>
                  </a:cubicBezTo>
                  <a:cubicBezTo>
                    <a:pt x="101" y="89"/>
                    <a:pt x="102" y="89"/>
                    <a:pt x="103" y="89"/>
                  </a:cubicBezTo>
                  <a:close/>
                  <a:moveTo>
                    <a:pt x="139" y="54"/>
                  </a:moveTo>
                  <a:cubicBezTo>
                    <a:pt x="147" y="54"/>
                    <a:pt x="154" y="40"/>
                    <a:pt x="154" y="31"/>
                  </a:cubicBezTo>
                  <a:cubicBezTo>
                    <a:pt x="154" y="23"/>
                    <a:pt x="147" y="16"/>
                    <a:pt x="139" y="16"/>
                  </a:cubicBezTo>
                  <a:cubicBezTo>
                    <a:pt x="130" y="16"/>
                    <a:pt x="123" y="23"/>
                    <a:pt x="123" y="31"/>
                  </a:cubicBezTo>
                  <a:cubicBezTo>
                    <a:pt x="123" y="40"/>
                    <a:pt x="130" y="54"/>
                    <a:pt x="139" y="54"/>
                  </a:cubicBezTo>
                  <a:close/>
                  <a:moveTo>
                    <a:pt x="152" y="53"/>
                  </a:moveTo>
                  <a:cubicBezTo>
                    <a:pt x="152" y="53"/>
                    <a:pt x="144" y="74"/>
                    <a:pt x="139" y="91"/>
                  </a:cubicBezTo>
                  <a:cubicBezTo>
                    <a:pt x="135" y="74"/>
                    <a:pt x="127" y="53"/>
                    <a:pt x="127" y="53"/>
                  </a:cubicBezTo>
                  <a:cubicBezTo>
                    <a:pt x="109" y="53"/>
                    <a:pt x="93" y="66"/>
                    <a:pt x="81" y="64"/>
                  </a:cubicBezTo>
                  <a:cubicBezTo>
                    <a:pt x="70" y="63"/>
                    <a:pt x="49" y="49"/>
                    <a:pt x="49" y="49"/>
                  </a:cubicBezTo>
                  <a:cubicBezTo>
                    <a:pt x="49" y="49"/>
                    <a:pt x="45" y="54"/>
                    <a:pt x="46" y="61"/>
                  </a:cubicBezTo>
                  <a:cubicBezTo>
                    <a:pt x="56" y="71"/>
                    <a:pt x="72" y="83"/>
                    <a:pt x="99" y="82"/>
                  </a:cubicBezTo>
                  <a:cubicBezTo>
                    <a:pt x="104" y="82"/>
                    <a:pt x="112" y="81"/>
                    <a:pt x="113" y="87"/>
                  </a:cubicBezTo>
                  <a:cubicBezTo>
                    <a:pt x="111" y="111"/>
                    <a:pt x="112" y="140"/>
                    <a:pt x="113" y="137"/>
                  </a:cubicBezTo>
                  <a:cubicBezTo>
                    <a:pt x="114" y="170"/>
                    <a:pt x="118" y="208"/>
                    <a:pt x="126" y="245"/>
                  </a:cubicBezTo>
                  <a:cubicBezTo>
                    <a:pt x="133" y="247"/>
                    <a:pt x="146" y="247"/>
                    <a:pt x="153" y="245"/>
                  </a:cubicBezTo>
                  <a:cubicBezTo>
                    <a:pt x="162" y="187"/>
                    <a:pt x="165" y="163"/>
                    <a:pt x="166" y="156"/>
                  </a:cubicBezTo>
                  <a:cubicBezTo>
                    <a:pt x="189" y="121"/>
                    <a:pt x="184" y="53"/>
                    <a:pt x="152" y="53"/>
                  </a:cubicBezTo>
                  <a:close/>
                  <a:moveTo>
                    <a:pt x="136" y="64"/>
                  </a:moveTo>
                  <a:cubicBezTo>
                    <a:pt x="137" y="67"/>
                    <a:pt x="138" y="75"/>
                    <a:pt x="139" y="85"/>
                  </a:cubicBezTo>
                  <a:cubicBezTo>
                    <a:pt x="140" y="75"/>
                    <a:pt x="141" y="67"/>
                    <a:pt x="143" y="64"/>
                  </a:cubicBezTo>
                  <a:cubicBezTo>
                    <a:pt x="145" y="59"/>
                    <a:pt x="142" y="57"/>
                    <a:pt x="139" y="57"/>
                  </a:cubicBezTo>
                  <a:cubicBezTo>
                    <a:pt x="136" y="57"/>
                    <a:pt x="134" y="59"/>
                    <a:pt x="136"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8" name="Freeform 50"/>
            <p:cNvSpPr>
              <a:spLocks/>
            </p:cNvSpPr>
            <p:nvPr/>
          </p:nvSpPr>
          <p:spPr bwMode="auto">
            <a:xfrm>
              <a:off x="1868488" y="3125788"/>
              <a:ext cx="152400" cy="196850"/>
            </a:xfrm>
            <a:custGeom>
              <a:avLst/>
              <a:gdLst>
                <a:gd name="T0" fmla="*/ 38 w 63"/>
                <a:gd name="T1" fmla="*/ 33 h 81"/>
                <a:gd name="T2" fmla="*/ 34 w 63"/>
                <a:gd name="T3" fmla="*/ 33 h 81"/>
                <a:gd name="T4" fmla="*/ 45 w 63"/>
                <a:gd name="T5" fmla="*/ 13 h 81"/>
                <a:gd name="T6" fmla="*/ 31 w 63"/>
                <a:gd name="T7" fmla="*/ 0 h 81"/>
                <a:gd name="T8" fmla="*/ 17 w 63"/>
                <a:gd name="T9" fmla="*/ 13 h 81"/>
                <a:gd name="T10" fmla="*/ 27 w 63"/>
                <a:gd name="T11" fmla="*/ 33 h 81"/>
                <a:gd name="T12" fmla="*/ 20 w 63"/>
                <a:gd name="T13" fmla="*/ 33 h 81"/>
                <a:gd name="T14" fmla="*/ 0 w 63"/>
                <a:gd name="T15" fmla="*/ 71 h 81"/>
                <a:gd name="T16" fmla="*/ 63 w 63"/>
                <a:gd name="T17" fmla="*/ 81 h 81"/>
                <a:gd name="T18" fmla="*/ 38 w 63"/>
                <a:gd name="T19" fmla="*/ 3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81">
                  <a:moveTo>
                    <a:pt x="38" y="33"/>
                  </a:moveTo>
                  <a:cubicBezTo>
                    <a:pt x="34" y="33"/>
                    <a:pt x="34" y="33"/>
                    <a:pt x="34" y="33"/>
                  </a:cubicBezTo>
                  <a:cubicBezTo>
                    <a:pt x="40" y="30"/>
                    <a:pt x="45" y="20"/>
                    <a:pt x="45" y="13"/>
                  </a:cubicBezTo>
                  <a:cubicBezTo>
                    <a:pt x="45" y="6"/>
                    <a:pt x="38" y="0"/>
                    <a:pt x="31" y="0"/>
                  </a:cubicBezTo>
                  <a:cubicBezTo>
                    <a:pt x="23" y="0"/>
                    <a:pt x="17" y="6"/>
                    <a:pt x="17" y="13"/>
                  </a:cubicBezTo>
                  <a:cubicBezTo>
                    <a:pt x="17" y="20"/>
                    <a:pt x="22" y="30"/>
                    <a:pt x="27" y="33"/>
                  </a:cubicBezTo>
                  <a:cubicBezTo>
                    <a:pt x="20" y="33"/>
                    <a:pt x="20" y="33"/>
                    <a:pt x="20" y="33"/>
                  </a:cubicBezTo>
                  <a:cubicBezTo>
                    <a:pt x="8" y="33"/>
                    <a:pt x="0" y="45"/>
                    <a:pt x="0" y="71"/>
                  </a:cubicBezTo>
                  <a:cubicBezTo>
                    <a:pt x="3" y="73"/>
                    <a:pt x="12" y="81"/>
                    <a:pt x="63" y="81"/>
                  </a:cubicBezTo>
                  <a:cubicBezTo>
                    <a:pt x="58" y="47"/>
                    <a:pt x="49" y="33"/>
                    <a:pt x="38"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49" name="Freeform 51"/>
            <p:cNvSpPr>
              <a:spLocks/>
            </p:cNvSpPr>
            <p:nvPr/>
          </p:nvSpPr>
          <p:spPr bwMode="auto">
            <a:xfrm>
              <a:off x="1970088" y="3144838"/>
              <a:ext cx="173038" cy="220663"/>
            </a:xfrm>
            <a:custGeom>
              <a:avLst/>
              <a:gdLst>
                <a:gd name="T0" fmla="*/ 43 w 71"/>
                <a:gd name="T1" fmla="*/ 37 h 91"/>
                <a:gd name="T2" fmla="*/ 39 w 71"/>
                <a:gd name="T3" fmla="*/ 37 h 91"/>
                <a:gd name="T4" fmla="*/ 50 w 71"/>
                <a:gd name="T5" fmla="*/ 16 h 91"/>
                <a:gd name="T6" fmla="*/ 35 w 71"/>
                <a:gd name="T7" fmla="*/ 0 h 91"/>
                <a:gd name="T8" fmla="*/ 20 w 71"/>
                <a:gd name="T9" fmla="*/ 16 h 91"/>
                <a:gd name="T10" fmla="*/ 31 w 71"/>
                <a:gd name="T11" fmla="*/ 37 h 91"/>
                <a:gd name="T12" fmla="*/ 23 w 71"/>
                <a:gd name="T13" fmla="*/ 37 h 91"/>
                <a:gd name="T14" fmla="*/ 0 w 71"/>
                <a:gd name="T15" fmla="*/ 80 h 91"/>
                <a:gd name="T16" fmla="*/ 71 w 71"/>
                <a:gd name="T17" fmla="*/ 91 h 91"/>
                <a:gd name="T18" fmla="*/ 43 w 71"/>
                <a:gd name="T19" fmla="*/ 3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91">
                  <a:moveTo>
                    <a:pt x="43" y="37"/>
                  </a:moveTo>
                  <a:cubicBezTo>
                    <a:pt x="39" y="37"/>
                    <a:pt x="39" y="37"/>
                    <a:pt x="39" y="37"/>
                  </a:cubicBezTo>
                  <a:cubicBezTo>
                    <a:pt x="45" y="34"/>
                    <a:pt x="50" y="23"/>
                    <a:pt x="50" y="16"/>
                  </a:cubicBezTo>
                  <a:cubicBezTo>
                    <a:pt x="50" y="7"/>
                    <a:pt x="43" y="0"/>
                    <a:pt x="35" y="0"/>
                  </a:cubicBezTo>
                  <a:cubicBezTo>
                    <a:pt x="26" y="0"/>
                    <a:pt x="20" y="7"/>
                    <a:pt x="20" y="16"/>
                  </a:cubicBezTo>
                  <a:cubicBezTo>
                    <a:pt x="20" y="23"/>
                    <a:pt x="24" y="34"/>
                    <a:pt x="31" y="37"/>
                  </a:cubicBezTo>
                  <a:cubicBezTo>
                    <a:pt x="23" y="37"/>
                    <a:pt x="23" y="37"/>
                    <a:pt x="23" y="37"/>
                  </a:cubicBezTo>
                  <a:cubicBezTo>
                    <a:pt x="9" y="37"/>
                    <a:pt x="0" y="51"/>
                    <a:pt x="0" y="80"/>
                  </a:cubicBezTo>
                  <a:cubicBezTo>
                    <a:pt x="3" y="82"/>
                    <a:pt x="14" y="91"/>
                    <a:pt x="71" y="91"/>
                  </a:cubicBezTo>
                  <a:cubicBezTo>
                    <a:pt x="65" y="53"/>
                    <a:pt x="56" y="37"/>
                    <a:pt x="43" y="3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50" name="Freeform 52"/>
            <p:cNvSpPr>
              <a:spLocks/>
            </p:cNvSpPr>
            <p:nvPr/>
          </p:nvSpPr>
          <p:spPr bwMode="auto">
            <a:xfrm>
              <a:off x="2081213" y="3167063"/>
              <a:ext cx="195263" cy="247650"/>
            </a:xfrm>
            <a:custGeom>
              <a:avLst/>
              <a:gdLst>
                <a:gd name="T0" fmla="*/ 48 w 80"/>
                <a:gd name="T1" fmla="*/ 42 h 102"/>
                <a:gd name="T2" fmla="*/ 44 w 80"/>
                <a:gd name="T3" fmla="*/ 42 h 102"/>
                <a:gd name="T4" fmla="*/ 57 w 80"/>
                <a:gd name="T5" fmla="*/ 17 h 102"/>
                <a:gd name="T6" fmla="*/ 40 w 80"/>
                <a:gd name="T7" fmla="*/ 0 h 102"/>
                <a:gd name="T8" fmla="*/ 22 w 80"/>
                <a:gd name="T9" fmla="*/ 17 h 102"/>
                <a:gd name="T10" fmla="*/ 35 w 80"/>
                <a:gd name="T11" fmla="*/ 42 h 102"/>
                <a:gd name="T12" fmla="*/ 26 w 80"/>
                <a:gd name="T13" fmla="*/ 42 h 102"/>
                <a:gd name="T14" fmla="*/ 0 w 80"/>
                <a:gd name="T15" fmla="*/ 89 h 102"/>
                <a:gd name="T16" fmla="*/ 80 w 80"/>
                <a:gd name="T17" fmla="*/ 102 h 102"/>
                <a:gd name="T18" fmla="*/ 48 w 80"/>
                <a:gd name="T19" fmla="*/ 4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02">
                  <a:moveTo>
                    <a:pt x="48" y="42"/>
                  </a:moveTo>
                  <a:cubicBezTo>
                    <a:pt x="44" y="42"/>
                    <a:pt x="44" y="42"/>
                    <a:pt x="44" y="42"/>
                  </a:cubicBezTo>
                  <a:cubicBezTo>
                    <a:pt x="51" y="38"/>
                    <a:pt x="57" y="25"/>
                    <a:pt x="57" y="17"/>
                  </a:cubicBezTo>
                  <a:cubicBezTo>
                    <a:pt x="57" y="8"/>
                    <a:pt x="49" y="0"/>
                    <a:pt x="40" y="0"/>
                  </a:cubicBezTo>
                  <a:cubicBezTo>
                    <a:pt x="30" y="0"/>
                    <a:pt x="22" y="8"/>
                    <a:pt x="22" y="17"/>
                  </a:cubicBezTo>
                  <a:cubicBezTo>
                    <a:pt x="22" y="25"/>
                    <a:pt x="28" y="38"/>
                    <a:pt x="35" y="42"/>
                  </a:cubicBezTo>
                  <a:cubicBezTo>
                    <a:pt x="26" y="42"/>
                    <a:pt x="26" y="42"/>
                    <a:pt x="26" y="42"/>
                  </a:cubicBezTo>
                  <a:cubicBezTo>
                    <a:pt x="11" y="42"/>
                    <a:pt x="1" y="57"/>
                    <a:pt x="0" y="89"/>
                  </a:cubicBezTo>
                  <a:cubicBezTo>
                    <a:pt x="4" y="93"/>
                    <a:pt x="16" y="102"/>
                    <a:pt x="80" y="102"/>
                  </a:cubicBezTo>
                  <a:cubicBezTo>
                    <a:pt x="74" y="59"/>
                    <a:pt x="63" y="42"/>
                    <a:pt x="48"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grpSp>
      <p:grpSp>
        <p:nvGrpSpPr>
          <p:cNvPr id="51" name="Group 50"/>
          <p:cNvGrpSpPr/>
          <p:nvPr/>
        </p:nvGrpSpPr>
        <p:grpSpPr>
          <a:xfrm>
            <a:off x="11188604" y="2915622"/>
            <a:ext cx="406411" cy="214125"/>
            <a:chOff x="4695825" y="5397500"/>
            <a:chExt cx="438150" cy="258762"/>
          </a:xfrm>
          <a:solidFill>
            <a:schemeClr val="tx2"/>
          </a:solidFill>
        </p:grpSpPr>
        <p:sp>
          <p:nvSpPr>
            <p:cNvPr id="52" name="Oval 124"/>
            <p:cNvSpPr>
              <a:spLocks noChangeArrowheads="1"/>
            </p:cNvSpPr>
            <p:nvPr/>
          </p:nvSpPr>
          <p:spPr bwMode="auto">
            <a:xfrm>
              <a:off x="4876800" y="5397500"/>
              <a:ext cx="76200" cy="7937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53" name="Freeform 125"/>
            <p:cNvSpPr>
              <a:spLocks/>
            </p:cNvSpPr>
            <p:nvPr/>
          </p:nvSpPr>
          <p:spPr bwMode="auto">
            <a:xfrm>
              <a:off x="5037138" y="5448300"/>
              <a:ext cx="77788" cy="87312"/>
            </a:xfrm>
            <a:custGeom>
              <a:avLst/>
              <a:gdLst>
                <a:gd name="T0" fmla="*/ 10 w 33"/>
                <a:gd name="T1" fmla="*/ 35 h 37"/>
                <a:gd name="T2" fmla="*/ 33 w 33"/>
                <a:gd name="T3" fmla="*/ 17 h 37"/>
                <a:gd name="T4" fmla="*/ 23 w 33"/>
                <a:gd name="T5" fmla="*/ 1 h 37"/>
                <a:gd name="T6" fmla="*/ 17 w 33"/>
                <a:gd name="T7" fmla="*/ 0 h 37"/>
                <a:gd name="T8" fmla="*/ 0 w 33"/>
                <a:gd name="T9" fmla="*/ 16 h 37"/>
                <a:gd name="T10" fmla="*/ 10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10" y="35"/>
                  </a:moveTo>
                  <a:cubicBezTo>
                    <a:pt x="18" y="37"/>
                    <a:pt x="33" y="26"/>
                    <a:pt x="33" y="17"/>
                  </a:cubicBezTo>
                  <a:cubicBezTo>
                    <a:pt x="33" y="10"/>
                    <a:pt x="29" y="3"/>
                    <a:pt x="23" y="1"/>
                  </a:cubicBezTo>
                  <a:cubicBezTo>
                    <a:pt x="21" y="0"/>
                    <a:pt x="19" y="0"/>
                    <a:pt x="17" y="0"/>
                  </a:cubicBezTo>
                  <a:cubicBezTo>
                    <a:pt x="8" y="0"/>
                    <a:pt x="1" y="7"/>
                    <a:pt x="0" y="16"/>
                  </a:cubicBezTo>
                  <a:cubicBezTo>
                    <a:pt x="0" y="23"/>
                    <a:pt x="3" y="33"/>
                    <a:pt x="10"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54" name="Freeform 126"/>
            <p:cNvSpPr>
              <a:spLocks/>
            </p:cNvSpPr>
            <p:nvPr/>
          </p:nvSpPr>
          <p:spPr bwMode="auto">
            <a:xfrm>
              <a:off x="4840288" y="5486400"/>
              <a:ext cx="149225" cy="79375"/>
            </a:xfrm>
            <a:custGeom>
              <a:avLst/>
              <a:gdLst>
                <a:gd name="T0" fmla="*/ 32 w 64"/>
                <a:gd name="T1" fmla="*/ 34 h 34"/>
                <a:gd name="T2" fmla="*/ 62 w 64"/>
                <a:gd name="T3" fmla="*/ 34 h 34"/>
                <a:gd name="T4" fmla="*/ 64 w 64"/>
                <a:gd name="T5" fmla="*/ 18 h 34"/>
                <a:gd name="T6" fmla="*/ 55 w 64"/>
                <a:gd name="T7" fmla="*/ 4 h 34"/>
                <a:gd name="T8" fmla="*/ 41 w 64"/>
                <a:gd name="T9" fmla="*/ 0 h 34"/>
                <a:gd name="T10" fmla="*/ 32 w 64"/>
                <a:gd name="T11" fmla="*/ 26 h 34"/>
                <a:gd name="T12" fmla="*/ 23 w 64"/>
                <a:gd name="T13" fmla="*/ 0 h 34"/>
                <a:gd name="T14" fmla="*/ 9 w 64"/>
                <a:gd name="T15" fmla="*/ 4 h 34"/>
                <a:gd name="T16" fmla="*/ 0 w 64"/>
                <a:gd name="T17" fmla="*/ 18 h 34"/>
                <a:gd name="T18" fmla="*/ 2 w 64"/>
                <a:gd name="T19" fmla="*/ 34 h 34"/>
                <a:gd name="T20" fmla="*/ 32 w 64"/>
                <a:gd name="T2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34">
                  <a:moveTo>
                    <a:pt x="32" y="34"/>
                  </a:moveTo>
                  <a:cubicBezTo>
                    <a:pt x="62" y="34"/>
                    <a:pt x="62" y="34"/>
                    <a:pt x="62" y="34"/>
                  </a:cubicBezTo>
                  <a:cubicBezTo>
                    <a:pt x="63" y="28"/>
                    <a:pt x="64" y="24"/>
                    <a:pt x="64" y="18"/>
                  </a:cubicBezTo>
                  <a:cubicBezTo>
                    <a:pt x="64" y="7"/>
                    <a:pt x="55" y="4"/>
                    <a:pt x="55" y="4"/>
                  </a:cubicBezTo>
                  <a:cubicBezTo>
                    <a:pt x="41" y="0"/>
                    <a:pt x="41" y="0"/>
                    <a:pt x="41" y="0"/>
                  </a:cubicBezTo>
                  <a:cubicBezTo>
                    <a:pt x="32" y="26"/>
                    <a:pt x="32" y="26"/>
                    <a:pt x="32" y="26"/>
                  </a:cubicBezTo>
                  <a:cubicBezTo>
                    <a:pt x="23" y="0"/>
                    <a:pt x="23" y="0"/>
                    <a:pt x="23" y="0"/>
                  </a:cubicBezTo>
                  <a:cubicBezTo>
                    <a:pt x="9" y="4"/>
                    <a:pt x="9" y="4"/>
                    <a:pt x="9" y="4"/>
                  </a:cubicBezTo>
                  <a:cubicBezTo>
                    <a:pt x="9" y="4"/>
                    <a:pt x="0" y="7"/>
                    <a:pt x="0" y="18"/>
                  </a:cubicBezTo>
                  <a:cubicBezTo>
                    <a:pt x="0" y="24"/>
                    <a:pt x="1" y="28"/>
                    <a:pt x="2" y="34"/>
                  </a:cubicBezTo>
                  <a:lnTo>
                    <a:pt x="32"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55" name="Freeform 127"/>
            <p:cNvSpPr>
              <a:spLocks/>
            </p:cNvSpPr>
            <p:nvPr/>
          </p:nvSpPr>
          <p:spPr bwMode="auto">
            <a:xfrm>
              <a:off x="4714875" y="5448300"/>
              <a:ext cx="77788" cy="87312"/>
            </a:xfrm>
            <a:custGeom>
              <a:avLst/>
              <a:gdLst>
                <a:gd name="T0" fmla="*/ 23 w 33"/>
                <a:gd name="T1" fmla="*/ 35 h 37"/>
                <a:gd name="T2" fmla="*/ 33 w 33"/>
                <a:gd name="T3" fmla="*/ 16 h 37"/>
                <a:gd name="T4" fmla="*/ 16 w 33"/>
                <a:gd name="T5" fmla="*/ 0 h 37"/>
                <a:gd name="T6" fmla="*/ 10 w 33"/>
                <a:gd name="T7" fmla="*/ 1 h 37"/>
                <a:gd name="T8" fmla="*/ 0 w 33"/>
                <a:gd name="T9" fmla="*/ 17 h 37"/>
                <a:gd name="T10" fmla="*/ 23 w 33"/>
                <a:gd name="T11" fmla="*/ 35 h 37"/>
              </a:gdLst>
              <a:ahLst/>
              <a:cxnLst>
                <a:cxn ang="0">
                  <a:pos x="T0" y="T1"/>
                </a:cxn>
                <a:cxn ang="0">
                  <a:pos x="T2" y="T3"/>
                </a:cxn>
                <a:cxn ang="0">
                  <a:pos x="T4" y="T5"/>
                </a:cxn>
                <a:cxn ang="0">
                  <a:pos x="T6" y="T7"/>
                </a:cxn>
                <a:cxn ang="0">
                  <a:pos x="T8" y="T9"/>
                </a:cxn>
                <a:cxn ang="0">
                  <a:pos x="T10" y="T11"/>
                </a:cxn>
              </a:cxnLst>
              <a:rect l="0" t="0" r="r" b="b"/>
              <a:pathLst>
                <a:path w="33" h="37">
                  <a:moveTo>
                    <a:pt x="23" y="35"/>
                  </a:moveTo>
                  <a:cubicBezTo>
                    <a:pt x="30" y="33"/>
                    <a:pt x="33" y="23"/>
                    <a:pt x="33" y="16"/>
                  </a:cubicBezTo>
                  <a:cubicBezTo>
                    <a:pt x="32" y="7"/>
                    <a:pt x="25" y="0"/>
                    <a:pt x="16" y="0"/>
                  </a:cubicBezTo>
                  <a:cubicBezTo>
                    <a:pt x="14" y="0"/>
                    <a:pt x="12" y="0"/>
                    <a:pt x="10" y="1"/>
                  </a:cubicBezTo>
                  <a:cubicBezTo>
                    <a:pt x="4" y="3"/>
                    <a:pt x="0" y="10"/>
                    <a:pt x="0" y="17"/>
                  </a:cubicBezTo>
                  <a:cubicBezTo>
                    <a:pt x="0" y="26"/>
                    <a:pt x="15" y="37"/>
                    <a:pt x="23"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sp>
          <p:nvSpPr>
            <p:cNvPr id="56" name="Freeform 128"/>
            <p:cNvSpPr>
              <a:spLocks/>
            </p:cNvSpPr>
            <p:nvPr/>
          </p:nvSpPr>
          <p:spPr bwMode="auto">
            <a:xfrm>
              <a:off x="4695825" y="5534025"/>
              <a:ext cx="438150" cy="122237"/>
            </a:xfrm>
            <a:custGeom>
              <a:avLst/>
              <a:gdLst>
                <a:gd name="T0" fmla="*/ 183 w 186"/>
                <a:gd name="T1" fmla="*/ 21 h 52"/>
                <a:gd name="T2" fmla="*/ 167 w 186"/>
                <a:gd name="T3" fmla="*/ 3 h 52"/>
                <a:gd name="T4" fmla="*/ 150 w 186"/>
                <a:gd name="T5" fmla="*/ 18 h 52"/>
                <a:gd name="T6" fmla="*/ 148 w 186"/>
                <a:gd name="T7" fmla="*/ 0 h 52"/>
                <a:gd name="T8" fmla="*/ 135 w 186"/>
                <a:gd name="T9" fmla="*/ 18 h 52"/>
                <a:gd name="T10" fmla="*/ 147 w 186"/>
                <a:gd name="T11" fmla="*/ 36 h 52"/>
                <a:gd name="T12" fmla="*/ 135 w 186"/>
                <a:gd name="T13" fmla="*/ 39 h 52"/>
                <a:gd name="T14" fmla="*/ 126 w 186"/>
                <a:gd name="T15" fmla="*/ 25 h 52"/>
                <a:gd name="T16" fmla="*/ 93 w 186"/>
                <a:gd name="T17" fmla="*/ 25 h 52"/>
                <a:gd name="T18" fmla="*/ 60 w 186"/>
                <a:gd name="T19" fmla="*/ 25 h 52"/>
                <a:gd name="T20" fmla="*/ 51 w 186"/>
                <a:gd name="T21" fmla="*/ 39 h 52"/>
                <a:gd name="T22" fmla="*/ 39 w 186"/>
                <a:gd name="T23" fmla="*/ 36 h 52"/>
                <a:gd name="T24" fmla="*/ 51 w 186"/>
                <a:gd name="T25" fmla="*/ 18 h 52"/>
                <a:gd name="T26" fmla="*/ 38 w 186"/>
                <a:gd name="T27" fmla="*/ 0 h 52"/>
                <a:gd name="T28" fmla="*/ 36 w 186"/>
                <a:gd name="T29" fmla="*/ 18 h 52"/>
                <a:gd name="T30" fmla="*/ 19 w 186"/>
                <a:gd name="T31" fmla="*/ 3 h 52"/>
                <a:gd name="T32" fmla="*/ 3 w 186"/>
                <a:gd name="T33" fmla="*/ 21 h 52"/>
                <a:gd name="T34" fmla="*/ 3 w 186"/>
                <a:gd name="T35" fmla="*/ 52 h 52"/>
                <a:gd name="T36" fmla="*/ 93 w 186"/>
                <a:gd name="T37" fmla="*/ 52 h 52"/>
                <a:gd name="T38" fmla="*/ 183 w 186"/>
                <a:gd name="T39" fmla="*/ 52 h 52"/>
                <a:gd name="T40" fmla="*/ 183 w 186"/>
                <a:gd name="T41"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52">
                  <a:moveTo>
                    <a:pt x="183" y="21"/>
                  </a:moveTo>
                  <a:cubicBezTo>
                    <a:pt x="180" y="5"/>
                    <a:pt x="167" y="3"/>
                    <a:pt x="167" y="3"/>
                  </a:cubicBezTo>
                  <a:cubicBezTo>
                    <a:pt x="150" y="18"/>
                    <a:pt x="150" y="18"/>
                    <a:pt x="150" y="18"/>
                  </a:cubicBezTo>
                  <a:cubicBezTo>
                    <a:pt x="148" y="0"/>
                    <a:pt x="148" y="0"/>
                    <a:pt x="148" y="0"/>
                  </a:cubicBezTo>
                  <a:cubicBezTo>
                    <a:pt x="132" y="6"/>
                    <a:pt x="135" y="18"/>
                    <a:pt x="135" y="18"/>
                  </a:cubicBezTo>
                  <a:cubicBezTo>
                    <a:pt x="147" y="36"/>
                    <a:pt x="147" y="36"/>
                    <a:pt x="147" y="36"/>
                  </a:cubicBezTo>
                  <a:cubicBezTo>
                    <a:pt x="135" y="39"/>
                    <a:pt x="135" y="39"/>
                    <a:pt x="135" y="39"/>
                  </a:cubicBezTo>
                  <a:cubicBezTo>
                    <a:pt x="126" y="25"/>
                    <a:pt x="126" y="25"/>
                    <a:pt x="126" y="25"/>
                  </a:cubicBezTo>
                  <a:cubicBezTo>
                    <a:pt x="93" y="25"/>
                    <a:pt x="93" y="25"/>
                    <a:pt x="93" y="25"/>
                  </a:cubicBezTo>
                  <a:cubicBezTo>
                    <a:pt x="60" y="25"/>
                    <a:pt x="60" y="25"/>
                    <a:pt x="60" y="25"/>
                  </a:cubicBezTo>
                  <a:cubicBezTo>
                    <a:pt x="51" y="39"/>
                    <a:pt x="51" y="39"/>
                    <a:pt x="51" y="39"/>
                  </a:cubicBezTo>
                  <a:cubicBezTo>
                    <a:pt x="39" y="36"/>
                    <a:pt x="39" y="36"/>
                    <a:pt x="39" y="36"/>
                  </a:cubicBezTo>
                  <a:cubicBezTo>
                    <a:pt x="51" y="18"/>
                    <a:pt x="51" y="18"/>
                    <a:pt x="51" y="18"/>
                  </a:cubicBezTo>
                  <a:cubicBezTo>
                    <a:pt x="51" y="18"/>
                    <a:pt x="54" y="6"/>
                    <a:pt x="38" y="0"/>
                  </a:cubicBezTo>
                  <a:cubicBezTo>
                    <a:pt x="36" y="18"/>
                    <a:pt x="36" y="18"/>
                    <a:pt x="36" y="18"/>
                  </a:cubicBezTo>
                  <a:cubicBezTo>
                    <a:pt x="19" y="3"/>
                    <a:pt x="19" y="3"/>
                    <a:pt x="19" y="3"/>
                  </a:cubicBezTo>
                  <a:cubicBezTo>
                    <a:pt x="19" y="3"/>
                    <a:pt x="6" y="5"/>
                    <a:pt x="3" y="21"/>
                  </a:cubicBezTo>
                  <a:cubicBezTo>
                    <a:pt x="0" y="37"/>
                    <a:pt x="3" y="52"/>
                    <a:pt x="3" y="52"/>
                  </a:cubicBezTo>
                  <a:cubicBezTo>
                    <a:pt x="93" y="52"/>
                    <a:pt x="93" y="52"/>
                    <a:pt x="93" y="52"/>
                  </a:cubicBezTo>
                  <a:cubicBezTo>
                    <a:pt x="183" y="52"/>
                    <a:pt x="183" y="52"/>
                    <a:pt x="183" y="52"/>
                  </a:cubicBezTo>
                  <a:cubicBezTo>
                    <a:pt x="183" y="52"/>
                    <a:pt x="186" y="37"/>
                    <a:pt x="183"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ES_tradnl"/>
            </a:p>
          </p:txBody>
        </p:sp>
      </p:grpSp>
    </p:spTree>
    <p:extLst>
      <p:ext uri="{BB962C8B-B14F-4D97-AF65-F5344CB8AC3E}">
        <p14:creationId xmlns:p14="http://schemas.microsoft.com/office/powerpoint/2010/main" val="1979072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342606900"/>
              </p:ext>
            </p:extLst>
          </p:nvPr>
        </p:nvGraphicFramePr>
        <p:xfrm>
          <a:off x="1495029" y="841488"/>
          <a:ext cx="1190" cy="1190"/>
        </p:xfrm>
        <a:graphic>
          <a:graphicData uri="http://schemas.openxmlformats.org/presentationml/2006/ole">
            <mc:AlternateContent xmlns:mc="http://schemas.openxmlformats.org/markup-compatibility/2006">
              <mc:Choice xmlns:v="urn:schemas-microsoft-com:vml" Requires="v">
                <p:oleObj spid="_x0000_s140510" name="think-cell Slide" r:id="rId33" imgW="353" imgH="353" progId="TCLayout.ActiveDocument.1">
                  <p:embed/>
                </p:oleObj>
              </mc:Choice>
              <mc:Fallback>
                <p:oleObj name="think-cell Slide" r:id="rId33" imgW="353" imgH="353" progId="TCLayout.ActiveDocument.1">
                  <p:embed/>
                  <p:pic>
                    <p:nvPicPr>
                      <p:cNvPr id="35" name="Object 34" hidden="1"/>
                      <p:cNvPicPr/>
                      <p:nvPr/>
                    </p:nvPicPr>
                    <p:blipFill>
                      <a:blip r:embed="rId34"/>
                      <a:stretch>
                        <a:fillRect/>
                      </a:stretch>
                    </p:blipFill>
                    <p:spPr>
                      <a:xfrm>
                        <a:off x="1495029" y="841488"/>
                        <a:ext cx="1190" cy="1190"/>
                      </a:xfrm>
                      <a:prstGeom prst="rect">
                        <a:avLst/>
                      </a:prstGeom>
                    </p:spPr>
                  </p:pic>
                </p:oleObj>
              </mc:Fallback>
            </mc:AlternateContent>
          </a:graphicData>
        </a:graphic>
      </p:graphicFrame>
      <p:sp>
        <p:nvSpPr>
          <p:cNvPr id="34" name="Rectangle 33" hidden="1"/>
          <p:cNvSpPr/>
          <p:nvPr>
            <p:custDataLst>
              <p:tags r:id="rId3"/>
            </p:custDataLst>
          </p:nvPr>
        </p:nvSpPr>
        <p:spPr bwMode="auto">
          <a:xfrm>
            <a:off x="1493839" y="840297"/>
            <a:ext cx="119056" cy="119056"/>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750"/>
            <a:endParaRPr lang="es-CO" sz="1500" dirty="0" err="1">
              <a:solidFill>
                <a:srgbClr val="000000"/>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39140" y="353603"/>
            <a:ext cx="10401755"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2438"/>
            <a:r>
              <a:rPr lang="es-CO" dirty="0"/>
              <a:t>Mejorar la productividad de la construcción - el poder de la innovación en la entrega</a:t>
            </a:r>
          </a:p>
        </p:txBody>
      </p:sp>
      <p:sp>
        <p:nvSpPr>
          <p:cNvPr id="5" name="3. Unit of measure"/>
          <p:cNvSpPr txBox="1">
            <a:spLocks noChangeArrowheads="1"/>
          </p:cNvSpPr>
          <p:nvPr/>
        </p:nvSpPr>
        <p:spPr bwMode="gray">
          <a:xfrm>
            <a:off x="739139" y="743804"/>
            <a:ext cx="1040158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452438"/>
            <a:br>
              <a:rPr lang="es-CO" dirty="0"/>
            </a:br>
            <a:r>
              <a:rPr lang="es-CO" dirty="0"/>
              <a:t>PRODUCTIVIDAD LABORAL GLOBAL</a:t>
            </a:r>
            <a:r>
              <a:rPr lang="es-CO" baseline="30000" dirty="0"/>
              <a:t>1</a:t>
            </a:r>
            <a:r>
              <a:rPr lang="es-CO" dirty="0"/>
              <a:t>  </a:t>
            </a:r>
          </a:p>
        </p:txBody>
      </p:sp>
      <p:sp>
        <p:nvSpPr>
          <p:cNvPr id="43" name="Oval 42"/>
          <p:cNvSpPr>
            <a:spLocks/>
          </p:cNvSpPr>
          <p:nvPr/>
        </p:nvSpPr>
        <p:spPr>
          <a:xfrm>
            <a:off x="9745980" y="2074571"/>
            <a:ext cx="822684" cy="380912"/>
          </a:xfrm>
          <a:prstGeom prst="ellipse">
            <a:avLst/>
          </a:prstGeom>
          <a:solidFill>
            <a:schemeClr val="accent4"/>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defTabSz="685750">
              <a:buClr>
                <a:srgbClr val="FFFFFF"/>
              </a:buClr>
            </a:pPr>
            <a:r>
              <a:rPr lang="es-CO" sz="1400" b="1" dirty="0">
                <a:solidFill>
                  <a:srgbClr val="FFFFFF"/>
                </a:solidFill>
                <a:latin typeface="Arial"/>
              </a:rPr>
              <a:t>+1000%</a:t>
            </a:r>
          </a:p>
        </p:txBody>
      </p:sp>
      <p:sp>
        <p:nvSpPr>
          <p:cNvPr id="18" name="TextBox 17"/>
          <p:cNvSpPr txBox="1">
            <a:spLocks/>
          </p:cNvSpPr>
          <p:nvPr>
            <p:custDataLst>
              <p:tags r:id="rId4"/>
            </p:custDataLst>
          </p:nvPr>
        </p:nvSpPr>
        <p:spPr>
          <a:xfrm>
            <a:off x="644056" y="1398447"/>
            <a:ext cx="3876582" cy="461665"/>
          </a:xfrm>
          <a:prstGeom prst="rect">
            <a:avLst/>
          </a:prstGeom>
          <a:noFill/>
          <a:effectLst/>
        </p:spPr>
        <p:txBody>
          <a:bodyPr vert="horz" wrap="square" lIns="0" tIns="0" rIns="0" bIns="0" rtlCol="0" anchor="t">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71464">
              <a:buClr>
                <a:srgbClr val="002960"/>
              </a:buClr>
            </a:pPr>
            <a:r>
              <a:rPr lang="es-CO" sz="1500" b="1" dirty="0">
                <a:solidFill>
                  <a:schemeClr val="accent6"/>
                </a:solidFill>
                <a:latin typeface="Arial"/>
              </a:rPr>
              <a:t>La construcción tiene </a:t>
            </a:r>
            <a:r>
              <a:rPr lang="es-CO" sz="1500" b="1" dirty="0">
                <a:solidFill>
                  <a:srgbClr val="00ADEF"/>
                </a:solidFill>
                <a:latin typeface="Arial"/>
              </a:rPr>
              <a:t>una productividad ~30% más baja</a:t>
            </a:r>
            <a:r>
              <a:rPr lang="es-CO" sz="1500" b="1" dirty="0">
                <a:latin typeface="Arial"/>
              </a:rPr>
              <a:t> </a:t>
            </a:r>
            <a:r>
              <a:rPr lang="es-CO" sz="1500" b="1" dirty="0">
                <a:solidFill>
                  <a:schemeClr val="accent6"/>
                </a:solidFill>
                <a:latin typeface="Arial"/>
              </a:rPr>
              <a:t>que la economía global</a:t>
            </a:r>
          </a:p>
        </p:txBody>
      </p:sp>
      <p:sp>
        <p:nvSpPr>
          <p:cNvPr id="19" name="TextBox 18"/>
          <p:cNvSpPr txBox="1">
            <a:spLocks/>
          </p:cNvSpPr>
          <p:nvPr>
            <p:custDataLst>
              <p:tags r:id="rId5"/>
            </p:custDataLst>
          </p:nvPr>
        </p:nvSpPr>
        <p:spPr>
          <a:xfrm>
            <a:off x="8783888" y="1386247"/>
            <a:ext cx="2880675" cy="230832"/>
          </a:xfrm>
          <a:prstGeom prst="rect">
            <a:avLst/>
          </a:prstGeom>
          <a:noFill/>
          <a:effectLst/>
        </p:spPr>
        <p:txBody>
          <a:bodyPr vert="horz" wrap="square" lIns="0" tIns="0" rIns="0" bIns="0" rtlCol="0" anchor="t">
            <a:spAutoFit/>
          </a:bodyPr>
          <a:lstStyle>
            <a:defPPr>
              <a:defRPr lang="en-US"/>
            </a:defPPr>
            <a:lvl1pPr marL="0" lvl="0" indent="0" defTabSz="895350" eaLnBrk="1" latinLnBrk="0" hangingPunct="1">
              <a:buClr>
                <a:schemeClr val="tx2"/>
              </a:buClr>
              <a:buSzPct val="100000"/>
              <a:defRPr sz="1400" b="1"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71464">
              <a:buClr>
                <a:srgbClr val="FFFFFF"/>
              </a:buClr>
            </a:pPr>
            <a:r>
              <a:rPr lang="es-CO" sz="1500" dirty="0">
                <a:solidFill>
                  <a:schemeClr val="accent6"/>
                </a:solidFill>
                <a:latin typeface="Arial"/>
              </a:rPr>
              <a:t>Cambio de paradigma</a:t>
            </a:r>
          </a:p>
        </p:txBody>
      </p:sp>
      <p:cxnSp>
        <p:nvCxnSpPr>
          <p:cNvPr id="20" name="Straight Connector 19"/>
          <p:cNvCxnSpPr>
            <a:cxnSpLocks/>
          </p:cNvCxnSpPr>
          <p:nvPr/>
        </p:nvCxnSpPr>
        <p:spPr>
          <a:xfrm>
            <a:off x="8600887" y="1398449"/>
            <a:ext cx="0" cy="3692187"/>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cxnSpLocks/>
          </p:cNvCxnSpPr>
          <p:nvPr/>
        </p:nvCxnSpPr>
        <p:spPr>
          <a:xfrm>
            <a:off x="4703639" y="1398448"/>
            <a:ext cx="0" cy="3692187"/>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2" name="TextBox 21"/>
          <p:cNvSpPr txBox="1">
            <a:spLocks/>
          </p:cNvSpPr>
          <p:nvPr>
            <p:custDataLst>
              <p:tags r:id="rId6"/>
            </p:custDataLst>
          </p:nvPr>
        </p:nvSpPr>
        <p:spPr>
          <a:xfrm>
            <a:off x="4886640" y="1398449"/>
            <a:ext cx="3531246" cy="461665"/>
          </a:xfrm>
          <a:prstGeom prst="rect">
            <a:avLst/>
          </a:prstGeom>
          <a:noFill/>
          <a:effectLst/>
        </p:spPr>
        <p:txBody>
          <a:bodyPr vert="horz" wrap="square" lIns="0" tIns="0" rIns="0" bIns="0" rtlCol="0" anchor="t">
            <a:spAutoFit/>
          </a:bodyPr>
          <a:lstStyle>
            <a:defPPr>
              <a:defRPr lang="en-US"/>
            </a:defPPr>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71464">
              <a:buClr>
                <a:srgbClr val="FFFFFF"/>
              </a:buClr>
            </a:pPr>
            <a:r>
              <a:rPr lang="es-CO" sz="1500" b="1" dirty="0">
                <a:solidFill>
                  <a:srgbClr val="00ADEF"/>
                </a:solidFill>
                <a:latin typeface="Arial"/>
              </a:rPr>
              <a:t>7 palancas</a:t>
            </a:r>
            <a:r>
              <a:rPr lang="es-CO" sz="1500" b="1" dirty="0">
                <a:latin typeface="Arial"/>
              </a:rPr>
              <a:t> </a:t>
            </a:r>
            <a:r>
              <a:rPr lang="es-CO" sz="1500" b="1" dirty="0">
                <a:solidFill>
                  <a:schemeClr val="accent6"/>
                </a:solidFill>
                <a:latin typeface="Arial"/>
              </a:rPr>
              <a:t>para cerrar la brecha de productividad</a:t>
            </a:r>
          </a:p>
        </p:txBody>
      </p:sp>
      <p:grpSp>
        <p:nvGrpSpPr>
          <p:cNvPr id="4" name="Group 3">
            <a:extLst>
              <a:ext uri="{FF2B5EF4-FFF2-40B4-BE49-F238E27FC236}">
                <a16:creationId xmlns:a16="http://schemas.microsoft.com/office/drawing/2014/main" id="{CFFE2126-D0E5-4A2B-9B7E-171A2EDBA8DF}"/>
              </a:ext>
            </a:extLst>
          </p:cNvPr>
          <p:cNvGrpSpPr/>
          <p:nvPr/>
        </p:nvGrpSpPr>
        <p:grpSpPr>
          <a:xfrm>
            <a:off x="4825178" y="4988411"/>
            <a:ext cx="1595098" cy="387915"/>
            <a:chOff x="4914453" y="5277773"/>
            <a:chExt cx="1595098" cy="387915"/>
          </a:xfrm>
        </p:grpSpPr>
        <p:grpSp>
          <p:nvGrpSpPr>
            <p:cNvPr id="117" name="Group 116"/>
            <p:cNvGrpSpPr/>
            <p:nvPr/>
          </p:nvGrpSpPr>
          <p:grpSpPr>
            <a:xfrm>
              <a:off x="4914453" y="5277773"/>
              <a:ext cx="387914" cy="387915"/>
              <a:chOff x="2843133" y="5484693"/>
              <a:chExt cx="474890" cy="474890"/>
            </a:xfrm>
          </p:grpSpPr>
          <p:sp>
            <p:nvSpPr>
              <p:cNvPr id="118" name="Oval 10"/>
              <p:cNvSpPr>
                <a:spLocks noChangeArrowheads="1"/>
              </p:cNvSpPr>
              <p:nvPr>
                <p:custDataLst>
                  <p:tags r:id="rId30"/>
                </p:custDataLst>
              </p:nvPr>
            </p:nvSpPr>
            <p:spPr bwMode="auto">
              <a:xfrm>
                <a:off x="2843133" y="5484693"/>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FFFFFF"/>
                  </a:solidFill>
                  <a:latin typeface="Arial"/>
                </a:endParaRPr>
              </a:p>
            </p:txBody>
          </p:sp>
          <p:grpSp>
            <p:nvGrpSpPr>
              <p:cNvPr id="119" name="Group 118"/>
              <p:cNvGrpSpPr/>
              <p:nvPr/>
            </p:nvGrpSpPr>
            <p:grpSpPr>
              <a:xfrm>
                <a:off x="2894422" y="5596344"/>
                <a:ext cx="365240" cy="251588"/>
                <a:chOff x="2930151" y="5620954"/>
                <a:chExt cx="293782" cy="202367"/>
              </a:xfrm>
            </p:grpSpPr>
            <p:sp>
              <p:nvSpPr>
                <p:cNvPr id="120" name="Freeform 167"/>
                <p:cNvSpPr>
                  <a:spLocks/>
                </p:cNvSpPr>
                <p:nvPr/>
              </p:nvSpPr>
              <p:spPr bwMode="auto">
                <a:xfrm>
                  <a:off x="2992210" y="5731581"/>
                  <a:ext cx="178084" cy="91740"/>
                </a:xfrm>
                <a:custGeom>
                  <a:avLst/>
                  <a:gdLst>
                    <a:gd name="T0" fmla="*/ 139 w 152"/>
                    <a:gd name="T1" fmla="*/ 13 h 78"/>
                    <a:gd name="T2" fmla="*/ 98 w 152"/>
                    <a:gd name="T3" fmla="*/ 0 h 78"/>
                    <a:gd name="T4" fmla="*/ 82 w 152"/>
                    <a:gd name="T5" fmla="*/ 49 h 78"/>
                    <a:gd name="T6" fmla="*/ 82 w 152"/>
                    <a:gd name="T7" fmla="*/ 26 h 78"/>
                    <a:gd name="T8" fmla="*/ 77 w 152"/>
                    <a:gd name="T9" fmla="*/ 19 h 78"/>
                    <a:gd name="T10" fmla="*/ 82 w 152"/>
                    <a:gd name="T11" fmla="*/ 14 h 78"/>
                    <a:gd name="T12" fmla="*/ 76 w 152"/>
                    <a:gd name="T13" fmla="*/ 7 h 78"/>
                    <a:gd name="T14" fmla="*/ 70 w 152"/>
                    <a:gd name="T15" fmla="*/ 14 h 78"/>
                    <a:gd name="T16" fmla="*/ 75 w 152"/>
                    <a:gd name="T17" fmla="*/ 19 h 78"/>
                    <a:gd name="T18" fmla="*/ 70 w 152"/>
                    <a:gd name="T19" fmla="*/ 26 h 78"/>
                    <a:gd name="T20" fmla="*/ 70 w 152"/>
                    <a:gd name="T21" fmla="*/ 49 h 78"/>
                    <a:gd name="T22" fmla="*/ 54 w 152"/>
                    <a:gd name="T23" fmla="*/ 0 h 78"/>
                    <a:gd name="T24" fmla="*/ 13 w 152"/>
                    <a:gd name="T25" fmla="*/ 13 h 78"/>
                    <a:gd name="T26" fmla="*/ 5 w 152"/>
                    <a:gd name="T27" fmla="*/ 23 h 78"/>
                    <a:gd name="T28" fmla="*/ 0 w 152"/>
                    <a:gd name="T29" fmla="*/ 78 h 78"/>
                    <a:gd name="T30" fmla="*/ 152 w 152"/>
                    <a:gd name="T31" fmla="*/ 78 h 78"/>
                    <a:gd name="T32" fmla="*/ 147 w 152"/>
                    <a:gd name="T33" fmla="*/ 23 h 78"/>
                    <a:gd name="T34" fmla="*/ 139 w 152"/>
                    <a:gd name="T35" fmla="*/ 1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78">
                      <a:moveTo>
                        <a:pt x="139" y="13"/>
                      </a:moveTo>
                      <a:cubicBezTo>
                        <a:pt x="98" y="0"/>
                        <a:pt x="98" y="0"/>
                        <a:pt x="98" y="0"/>
                      </a:cubicBezTo>
                      <a:cubicBezTo>
                        <a:pt x="82" y="49"/>
                        <a:pt x="82" y="49"/>
                        <a:pt x="82" y="49"/>
                      </a:cubicBezTo>
                      <a:cubicBezTo>
                        <a:pt x="82" y="26"/>
                        <a:pt x="82" y="26"/>
                        <a:pt x="82" y="26"/>
                      </a:cubicBezTo>
                      <a:cubicBezTo>
                        <a:pt x="77" y="19"/>
                        <a:pt x="77" y="19"/>
                        <a:pt x="77" y="19"/>
                      </a:cubicBezTo>
                      <a:cubicBezTo>
                        <a:pt x="82" y="14"/>
                        <a:pt x="82" y="14"/>
                        <a:pt x="82" y="14"/>
                      </a:cubicBezTo>
                      <a:cubicBezTo>
                        <a:pt x="76" y="7"/>
                        <a:pt x="76" y="7"/>
                        <a:pt x="76" y="7"/>
                      </a:cubicBezTo>
                      <a:cubicBezTo>
                        <a:pt x="70" y="14"/>
                        <a:pt x="70" y="14"/>
                        <a:pt x="70" y="14"/>
                      </a:cubicBezTo>
                      <a:cubicBezTo>
                        <a:pt x="75" y="19"/>
                        <a:pt x="75" y="19"/>
                        <a:pt x="75" y="19"/>
                      </a:cubicBezTo>
                      <a:cubicBezTo>
                        <a:pt x="70" y="26"/>
                        <a:pt x="70" y="26"/>
                        <a:pt x="70" y="26"/>
                      </a:cubicBezTo>
                      <a:cubicBezTo>
                        <a:pt x="70" y="49"/>
                        <a:pt x="70" y="49"/>
                        <a:pt x="70" y="49"/>
                      </a:cubicBezTo>
                      <a:cubicBezTo>
                        <a:pt x="54" y="0"/>
                        <a:pt x="54" y="0"/>
                        <a:pt x="54" y="0"/>
                      </a:cubicBezTo>
                      <a:cubicBezTo>
                        <a:pt x="13" y="13"/>
                        <a:pt x="13" y="13"/>
                        <a:pt x="13" y="13"/>
                      </a:cubicBezTo>
                      <a:cubicBezTo>
                        <a:pt x="9" y="14"/>
                        <a:pt x="6" y="18"/>
                        <a:pt x="5" y="23"/>
                      </a:cubicBezTo>
                      <a:cubicBezTo>
                        <a:pt x="2" y="33"/>
                        <a:pt x="0" y="53"/>
                        <a:pt x="0" y="78"/>
                      </a:cubicBezTo>
                      <a:cubicBezTo>
                        <a:pt x="152" y="78"/>
                        <a:pt x="152" y="78"/>
                        <a:pt x="152" y="78"/>
                      </a:cubicBezTo>
                      <a:cubicBezTo>
                        <a:pt x="152" y="53"/>
                        <a:pt x="150" y="33"/>
                        <a:pt x="147" y="23"/>
                      </a:cubicBezTo>
                      <a:cubicBezTo>
                        <a:pt x="146" y="18"/>
                        <a:pt x="143" y="14"/>
                        <a:pt x="139" y="13"/>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1" name="Freeform 168"/>
                <p:cNvSpPr>
                  <a:spLocks/>
                </p:cNvSpPr>
                <p:nvPr/>
              </p:nvSpPr>
              <p:spPr bwMode="auto">
                <a:xfrm>
                  <a:off x="3114981" y="5714043"/>
                  <a:ext cx="9445" cy="9444"/>
                </a:xfrm>
                <a:custGeom>
                  <a:avLst/>
                  <a:gdLst>
                    <a:gd name="T0" fmla="*/ 0 w 7"/>
                    <a:gd name="T1" fmla="*/ 5 h 7"/>
                    <a:gd name="T2" fmla="*/ 3 w 7"/>
                    <a:gd name="T3" fmla="*/ 7 h 7"/>
                    <a:gd name="T4" fmla="*/ 7 w 7"/>
                    <a:gd name="T5" fmla="*/ 0 h 7"/>
                    <a:gd name="T6" fmla="*/ 0 w 7"/>
                    <a:gd name="T7" fmla="*/ 3 h 7"/>
                    <a:gd name="T8" fmla="*/ 0 w 7"/>
                    <a:gd name="T9" fmla="*/ 5 h 7"/>
                  </a:gdLst>
                  <a:ahLst/>
                  <a:cxnLst>
                    <a:cxn ang="0">
                      <a:pos x="T0" y="T1"/>
                    </a:cxn>
                    <a:cxn ang="0">
                      <a:pos x="T2" y="T3"/>
                    </a:cxn>
                    <a:cxn ang="0">
                      <a:pos x="T4" y="T5"/>
                    </a:cxn>
                    <a:cxn ang="0">
                      <a:pos x="T6" y="T7"/>
                    </a:cxn>
                    <a:cxn ang="0">
                      <a:pos x="T8" y="T9"/>
                    </a:cxn>
                  </a:cxnLst>
                  <a:rect l="0" t="0" r="r" b="b"/>
                  <a:pathLst>
                    <a:path w="7" h="7">
                      <a:moveTo>
                        <a:pt x="0" y="5"/>
                      </a:moveTo>
                      <a:lnTo>
                        <a:pt x="3" y="7"/>
                      </a:lnTo>
                      <a:lnTo>
                        <a:pt x="7" y="0"/>
                      </a:lnTo>
                      <a:lnTo>
                        <a:pt x="0" y="3"/>
                      </a:lnTo>
                      <a:lnTo>
                        <a:pt x="0" y="5"/>
                      </a:ln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2" name="Freeform 169"/>
                <p:cNvSpPr>
                  <a:spLocks/>
                </p:cNvSpPr>
                <p:nvPr/>
              </p:nvSpPr>
              <p:spPr bwMode="auto">
                <a:xfrm>
                  <a:off x="3027288" y="5711344"/>
                  <a:ext cx="18887" cy="16190"/>
                </a:xfrm>
                <a:custGeom>
                  <a:avLst/>
                  <a:gdLst>
                    <a:gd name="T0" fmla="*/ 14 w 14"/>
                    <a:gd name="T1" fmla="*/ 7 h 12"/>
                    <a:gd name="T2" fmla="*/ 14 w 14"/>
                    <a:gd name="T3" fmla="*/ 5 h 12"/>
                    <a:gd name="T4" fmla="*/ 14 w 14"/>
                    <a:gd name="T5" fmla="*/ 3 h 12"/>
                    <a:gd name="T6" fmla="*/ 5 w 14"/>
                    <a:gd name="T7" fmla="*/ 0 h 12"/>
                    <a:gd name="T8" fmla="*/ 0 w 14"/>
                    <a:gd name="T9" fmla="*/ 12 h 12"/>
                    <a:gd name="T10" fmla="*/ 14 w 14"/>
                    <a:gd name="T11" fmla="*/ 7 h 12"/>
                  </a:gdLst>
                  <a:ahLst/>
                  <a:cxnLst>
                    <a:cxn ang="0">
                      <a:pos x="T0" y="T1"/>
                    </a:cxn>
                    <a:cxn ang="0">
                      <a:pos x="T2" y="T3"/>
                    </a:cxn>
                    <a:cxn ang="0">
                      <a:pos x="T4" y="T5"/>
                    </a:cxn>
                    <a:cxn ang="0">
                      <a:pos x="T6" y="T7"/>
                    </a:cxn>
                    <a:cxn ang="0">
                      <a:pos x="T8" y="T9"/>
                    </a:cxn>
                    <a:cxn ang="0">
                      <a:pos x="T10" y="T11"/>
                    </a:cxn>
                  </a:cxnLst>
                  <a:rect l="0" t="0" r="r" b="b"/>
                  <a:pathLst>
                    <a:path w="14" h="12">
                      <a:moveTo>
                        <a:pt x="14" y="7"/>
                      </a:moveTo>
                      <a:lnTo>
                        <a:pt x="14" y="5"/>
                      </a:lnTo>
                      <a:lnTo>
                        <a:pt x="14" y="3"/>
                      </a:lnTo>
                      <a:lnTo>
                        <a:pt x="5" y="0"/>
                      </a:lnTo>
                      <a:lnTo>
                        <a:pt x="0" y="12"/>
                      </a:lnTo>
                      <a:lnTo>
                        <a:pt x="14" y="7"/>
                      </a:ln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3" name="Freeform 170"/>
                <p:cNvSpPr>
                  <a:spLocks/>
                </p:cNvSpPr>
                <p:nvPr/>
              </p:nvSpPr>
              <p:spPr bwMode="auto">
                <a:xfrm>
                  <a:off x="3176017" y="5714043"/>
                  <a:ext cx="47916" cy="80947"/>
                </a:xfrm>
                <a:custGeom>
                  <a:avLst/>
                  <a:gdLst>
                    <a:gd name="T0" fmla="*/ 21 w 53"/>
                    <a:gd name="T1" fmla="*/ 25 h 69"/>
                    <a:gd name="T2" fmla="*/ 0 w 53"/>
                    <a:gd name="T3" fmla="*/ 25 h 69"/>
                    <a:gd name="T4" fmla="*/ 6 w 53"/>
                    <a:gd name="T5" fmla="*/ 35 h 69"/>
                    <a:gd name="T6" fmla="*/ 10 w 53"/>
                    <a:gd name="T7" fmla="*/ 69 h 69"/>
                    <a:gd name="T8" fmla="*/ 53 w 53"/>
                    <a:gd name="T9" fmla="*/ 69 h 69"/>
                    <a:gd name="T10" fmla="*/ 49 w 53"/>
                    <a:gd name="T11" fmla="*/ 21 h 69"/>
                    <a:gd name="T12" fmla="*/ 41 w 53"/>
                    <a:gd name="T13" fmla="*/ 13 h 69"/>
                    <a:gd name="T14" fmla="*/ 8 w 53"/>
                    <a:gd name="T15" fmla="*/ 0 h 69"/>
                    <a:gd name="T16" fmla="*/ 21 w 53"/>
                    <a:gd name="T17"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69">
                      <a:moveTo>
                        <a:pt x="21" y="25"/>
                      </a:moveTo>
                      <a:cubicBezTo>
                        <a:pt x="0" y="25"/>
                        <a:pt x="0" y="25"/>
                        <a:pt x="0" y="25"/>
                      </a:cubicBezTo>
                      <a:cubicBezTo>
                        <a:pt x="3" y="28"/>
                        <a:pt x="5" y="31"/>
                        <a:pt x="6" y="35"/>
                      </a:cubicBezTo>
                      <a:cubicBezTo>
                        <a:pt x="7" y="42"/>
                        <a:pt x="9" y="54"/>
                        <a:pt x="10" y="69"/>
                      </a:cubicBezTo>
                      <a:cubicBezTo>
                        <a:pt x="53" y="69"/>
                        <a:pt x="53" y="69"/>
                        <a:pt x="53" y="69"/>
                      </a:cubicBezTo>
                      <a:cubicBezTo>
                        <a:pt x="53" y="45"/>
                        <a:pt x="50" y="30"/>
                        <a:pt x="49" y="21"/>
                      </a:cubicBezTo>
                      <a:cubicBezTo>
                        <a:pt x="48" y="18"/>
                        <a:pt x="45" y="14"/>
                        <a:pt x="41" y="13"/>
                      </a:cubicBezTo>
                      <a:cubicBezTo>
                        <a:pt x="8" y="0"/>
                        <a:pt x="8" y="0"/>
                        <a:pt x="8" y="0"/>
                      </a:cubicBezTo>
                      <a:lnTo>
                        <a:pt x="21" y="25"/>
                      </a:ln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4" name="Freeform 171"/>
                <p:cNvSpPr>
                  <a:spLocks/>
                </p:cNvSpPr>
                <p:nvPr/>
              </p:nvSpPr>
              <p:spPr bwMode="auto">
                <a:xfrm>
                  <a:off x="3130491" y="5620954"/>
                  <a:ext cx="59371" cy="114675"/>
                </a:xfrm>
                <a:custGeom>
                  <a:avLst/>
                  <a:gdLst>
                    <a:gd name="T0" fmla="*/ 3 w 65"/>
                    <a:gd name="T1" fmla="*/ 31 h 97"/>
                    <a:gd name="T2" fmla="*/ 3 w 65"/>
                    <a:gd name="T3" fmla="*/ 41 h 97"/>
                    <a:gd name="T4" fmla="*/ 4 w 65"/>
                    <a:gd name="T5" fmla="*/ 43 h 97"/>
                    <a:gd name="T6" fmla="*/ 0 w 65"/>
                    <a:gd name="T7" fmla="*/ 70 h 97"/>
                    <a:gd name="T8" fmla="*/ 9 w 65"/>
                    <a:gd name="T9" fmla="*/ 72 h 97"/>
                    <a:gd name="T10" fmla="*/ 19 w 65"/>
                    <a:gd name="T11" fmla="*/ 94 h 97"/>
                    <a:gd name="T12" fmla="*/ 29 w 65"/>
                    <a:gd name="T13" fmla="*/ 97 h 97"/>
                    <a:gd name="T14" fmla="*/ 41 w 65"/>
                    <a:gd name="T15" fmla="*/ 72 h 97"/>
                    <a:gd name="T16" fmla="*/ 65 w 65"/>
                    <a:gd name="T17" fmla="*/ 64 h 97"/>
                    <a:gd name="T18" fmla="*/ 53 w 65"/>
                    <a:gd name="T19" fmla="*/ 31 h 97"/>
                    <a:gd name="T20" fmla="*/ 25 w 65"/>
                    <a:gd name="T21" fmla="*/ 0 h 97"/>
                    <a:gd name="T22" fmla="*/ 0 w 65"/>
                    <a:gd name="T23" fmla="*/ 16 h 97"/>
                    <a:gd name="T24" fmla="*/ 3 w 65"/>
                    <a:gd name="T25" fmla="*/ 3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97">
                      <a:moveTo>
                        <a:pt x="3" y="31"/>
                      </a:moveTo>
                      <a:cubicBezTo>
                        <a:pt x="3" y="41"/>
                        <a:pt x="3" y="41"/>
                        <a:pt x="3" y="41"/>
                      </a:cubicBezTo>
                      <a:cubicBezTo>
                        <a:pt x="4" y="42"/>
                        <a:pt x="4" y="43"/>
                        <a:pt x="4" y="43"/>
                      </a:cubicBezTo>
                      <a:cubicBezTo>
                        <a:pt x="9" y="52"/>
                        <a:pt x="6" y="64"/>
                        <a:pt x="0" y="70"/>
                      </a:cubicBezTo>
                      <a:cubicBezTo>
                        <a:pt x="2" y="71"/>
                        <a:pt x="5" y="72"/>
                        <a:pt x="9" y="72"/>
                      </a:cubicBezTo>
                      <a:cubicBezTo>
                        <a:pt x="19" y="94"/>
                        <a:pt x="19" y="94"/>
                        <a:pt x="19" y="94"/>
                      </a:cubicBezTo>
                      <a:cubicBezTo>
                        <a:pt x="29" y="97"/>
                        <a:pt x="29" y="97"/>
                        <a:pt x="29" y="97"/>
                      </a:cubicBezTo>
                      <a:cubicBezTo>
                        <a:pt x="41" y="72"/>
                        <a:pt x="41" y="72"/>
                        <a:pt x="41" y="72"/>
                      </a:cubicBezTo>
                      <a:cubicBezTo>
                        <a:pt x="57" y="70"/>
                        <a:pt x="65" y="64"/>
                        <a:pt x="65" y="64"/>
                      </a:cubicBezTo>
                      <a:cubicBezTo>
                        <a:pt x="65" y="64"/>
                        <a:pt x="53" y="64"/>
                        <a:pt x="53" y="31"/>
                      </a:cubicBezTo>
                      <a:cubicBezTo>
                        <a:pt x="53" y="11"/>
                        <a:pt x="41" y="0"/>
                        <a:pt x="25" y="0"/>
                      </a:cubicBezTo>
                      <a:cubicBezTo>
                        <a:pt x="14" y="0"/>
                        <a:pt x="4" y="6"/>
                        <a:pt x="0" y="16"/>
                      </a:cubicBezTo>
                      <a:cubicBezTo>
                        <a:pt x="2" y="20"/>
                        <a:pt x="3" y="25"/>
                        <a:pt x="3" y="31"/>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5" name="Freeform 172"/>
                <p:cNvSpPr>
                  <a:spLocks/>
                </p:cNvSpPr>
                <p:nvPr/>
              </p:nvSpPr>
              <p:spPr bwMode="auto">
                <a:xfrm>
                  <a:off x="2930151" y="5711344"/>
                  <a:ext cx="66107" cy="83645"/>
                </a:xfrm>
                <a:custGeom>
                  <a:avLst/>
                  <a:gdLst>
                    <a:gd name="T0" fmla="*/ 47 w 56"/>
                    <a:gd name="T1" fmla="*/ 37 h 71"/>
                    <a:gd name="T2" fmla="*/ 56 w 56"/>
                    <a:gd name="T3" fmla="*/ 24 h 71"/>
                    <a:gd name="T4" fmla="*/ 48 w 56"/>
                    <a:gd name="T5" fmla="*/ 0 h 71"/>
                    <a:gd name="T6" fmla="*/ 12 w 56"/>
                    <a:gd name="T7" fmla="*/ 12 h 71"/>
                    <a:gd name="T8" fmla="*/ 4 w 56"/>
                    <a:gd name="T9" fmla="*/ 20 h 71"/>
                    <a:gd name="T10" fmla="*/ 0 w 56"/>
                    <a:gd name="T11" fmla="*/ 71 h 71"/>
                    <a:gd name="T12" fmla="*/ 43 w 56"/>
                    <a:gd name="T13" fmla="*/ 71 h 71"/>
                    <a:gd name="T14" fmla="*/ 47 w 56"/>
                    <a:gd name="T15" fmla="*/ 37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71">
                      <a:moveTo>
                        <a:pt x="47" y="37"/>
                      </a:moveTo>
                      <a:cubicBezTo>
                        <a:pt x="49" y="32"/>
                        <a:pt x="52" y="27"/>
                        <a:pt x="56" y="24"/>
                      </a:cubicBezTo>
                      <a:cubicBezTo>
                        <a:pt x="48" y="0"/>
                        <a:pt x="48" y="0"/>
                        <a:pt x="48" y="0"/>
                      </a:cubicBezTo>
                      <a:cubicBezTo>
                        <a:pt x="12" y="12"/>
                        <a:pt x="12" y="12"/>
                        <a:pt x="12" y="12"/>
                      </a:cubicBezTo>
                      <a:cubicBezTo>
                        <a:pt x="8" y="13"/>
                        <a:pt x="5" y="16"/>
                        <a:pt x="4" y="20"/>
                      </a:cubicBezTo>
                      <a:cubicBezTo>
                        <a:pt x="2" y="30"/>
                        <a:pt x="0" y="48"/>
                        <a:pt x="0" y="71"/>
                      </a:cubicBezTo>
                      <a:cubicBezTo>
                        <a:pt x="43" y="71"/>
                        <a:pt x="43" y="71"/>
                        <a:pt x="43" y="71"/>
                      </a:cubicBezTo>
                      <a:cubicBezTo>
                        <a:pt x="44" y="56"/>
                        <a:pt x="46" y="44"/>
                        <a:pt x="47" y="37"/>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6" name="Freeform 173"/>
                <p:cNvSpPr>
                  <a:spLocks/>
                </p:cNvSpPr>
                <p:nvPr/>
              </p:nvSpPr>
              <p:spPr bwMode="auto">
                <a:xfrm>
                  <a:off x="2974672" y="5620954"/>
                  <a:ext cx="63409" cy="114675"/>
                </a:xfrm>
                <a:custGeom>
                  <a:avLst/>
                  <a:gdLst>
                    <a:gd name="T0" fmla="*/ 10 w 54"/>
                    <a:gd name="T1" fmla="*/ 51 h 97"/>
                    <a:gd name="T2" fmla="*/ 14 w 54"/>
                    <a:gd name="T3" fmla="*/ 64 h 97"/>
                    <a:gd name="T4" fmla="*/ 14 w 54"/>
                    <a:gd name="T5" fmla="*/ 72 h 97"/>
                    <a:gd name="T6" fmla="*/ 30 w 54"/>
                    <a:gd name="T7" fmla="*/ 84 h 97"/>
                    <a:gd name="T8" fmla="*/ 24 w 54"/>
                    <a:gd name="T9" fmla="*/ 89 h 97"/>
                    <a:gd name="T10" fmla="*/ 29 w 54"/>
                    <a:gd name="T11" fmla="*/ 94 h 97"/>
                    <a:gd name="T12" fmla="*/ 27 w 54"/>
                    <a:gd name="T13" fmla="*/ 97 h 97"/>
                    <a:gd name="T14" fmla="*/ 32 w 54"/>
                    <a:gd name="T15" fmla="*/ 95 h 97"/>
                    <a:gd name="T16" fmla="*/ 31 w 54"/>
                    <a:gd name="T17" fmla="*/ 94 h 97"/>
                    <a:gd name="T18" fmla="*/ 36 w 54"/>
                    <a:gd name="T19" fmla="*/ 89 h 97"/>
                    <a:gd name="T20" fmla="*/ 30 w 54"/>
                    <a:gd name="T21" fmla="*/ 84 h 97"/>
                    <a:gd name="T22" fmla="*/ 46 w 54"/>
                    <a:gd name="T23" fmla="*/ 72 h 97"/>
                    <a:gd name="T24" fmla="*/ 46 w 54"/>
                    <a:gd name="T25" fmla="*/ 64 h 97"/>
                    <a:gd name="T26" fmla="*/ 49 w 54"/>
                    <a:gd name="T27" fmla="*/ 56 h 97"/>
                    <a:gd name="T28" fmla="*/ 51 w 54"/>
                    <a:gd name="T29" fmla="*/ 43 h 97"/>
                    <a:gd name="T30" fmla="*/ 52 w 54"/>
                    <a:gd name="T31" fmla="*/ 41 h 97"/>
                    <a:gd name="T32" fmla="*/ 52 w 54"/>
                    <a:gd name="T33" fmla="*/ 30 h 97"/>
                    <a:gd name="T34" fmla="*/ 54 w 54"/>
                    <a:gd name="T35" fmla="*/ 19 h 97"/>
                    <a:gd name="T36" fmla="*/ 45 w 54"/>
                    <a:gd name="T37" fmla="*/ 8 h 97"/>
                    <a:gd name="T38" fmla="*/ 30 w 54"/>
                    <a:gd name="T39" fmla="*/ 0 h 97"/>
                    <a:gd name="T40" fmla="*/ 6 w 54"/>
                    <a:gd name="T41" fmla="*/ 20 h 97"/>
                    <a:gd name="T42" fmla="*/ 6 w 54"/>
                    <a:gd name="T43" fmla="*/ 34 h 97"/>
                    <a:gd name="T44" fmla="*/ 2 w 54"/>
                    <a:gd name="T45" fmla="*/ 36 h 97"/>
                    <a:gd name="T46" fmla="*/ 5 w 54"/>
                    <a:gd name="T47" fmla="*/ 50 h 97"/>
                    <a:gd name="T48" fmla="*/ 10 w 54"/>
                    <a:gd name="T49" fmla="*/ 5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97">
                      <a:moveTo>
                        <a:pt x="10" y="51"/>
                      </a:moveTo>
                      <a:cubicBezTo>
                        <a:pt x="14" y="64"/>
                        <a:pt x="14" y="64"/>
                        <a:pt x="14" y="64"/>
                      </a:cubicBezTo>
                      <a:cubicBezTo>
                        <a:pt x="14" y="72"/>
                        <a:pt x="14" y="72"/>
                        <a:pt x="14" y="72"/>
                      </a:cubicBezTo>
                      <a:cubicBezTo>
                        <a:pt x="30" y="84"/>
                        <a:pt x="30" y="84"/>
                        <a:pt x="30" y="84"/>
                      </a:cubicBezTo>
                      <a:cubicBezTo>
                        <a:pt x="24" y="89"/>
                        <a:pt x="24" y="89"/>
                        <a:pt x="24" y="89"/>
                      </a:cubicBezTo>
                      <a:cubicBezTo>
                        <a:pt x="29" y="94"/>
                        <a:pt x="29" y="94"/>
                        <a:pt x="29" y="94"/>
                      </a:cubicBezTo>
                      <a:cubicBezTo>
                        <a:pt x="27" y="97"/>
                        <a:pt x="27" y="97"/>
                        <a:pt x="27" y="97"/>
                      </a:cubicBezTo>
                      <a:cubicBezTo>
                        <a:pt x="32" y="95"/>
                        <a:pt x="32" y="95"/>
                        <a:pt x="32" y="95"/>
                      </a:cubicBezTo>
                      <a:cubicBezTo>
                        <a:pt x="31" y="94"/>
                        <a:pt x="31" y="94"/>
                        <a:pt x="31" y="94"/>
                      </a:cubicBezTo>
                      <a:cubicBezTo>
                        <a:pt x="36" y="89"/>
                        <a:pt x="36" y="89"/>
                        <a:pt x="36" y="89"/>
                      </a:cubicBezTo>
                      <a:cubicBezTo>
                        <a:pt x="30" y="84"/>
                        <a:pt x="30" y="84"/>
                        <a:pt x="30" y="84"/>
                      </a:cubicBezTo>
                      <a:cubicBezTo>
                        <a:pt x="46" y="72"/>
                        <a:pt x="46" y="72"/>
                        <a:pt x="46" y="72"/>
                      </a:cubicBezTo>
                      <a:cubicBezTo>
                        <a:pt x="46" y="64"/>
                        <a:pt x="46" y="64"/>
                        <a:pt x="46" y="64"/>
                      </a:cubicBezTo>
                      <a:cubicBezTo>
                        <a:pt x="49" y="56"/>
                        <a:pt x="49" y="56"/>
                        <a:pt x="49" y="56"/>
                      </a:cubicBezTo>
                      <a:cubicBezTo>
                        <a:pt x="48" y="52"/>
                        <a:pt x="48" y="47"/>
                        <a:pt x="51" y="43"/>
                      </a:cubicBezTo>
                      <a:cubicBezTo>
                        <a:pt x="51" y="43"/>
                        <a:pt x="51" y="42"/>
                        <a:pt x="52" y="41"/>
                      </a:cubicBezTo>
                      <a:cubicBezTo>
                        <a:pt x="52" y="30"/>
                        <a:pt x="52" y="30"/>
                        <a:pt x="52" y="30"/>
                      </a:cubicBezTo>
                      <a:cubicBezTo>
                        <a:pt x="52" y="26"/>
                        <a:pt x="53" y="23"/>
                        <a:pt x="54" y="19"/>
                      </a:cubicBezTo>
                      <a:cubicBezTo>
                        <a:pt x="54" y="12"/>
                        <a:pt x="52" y="8"/>
                        <a:pt x="45" y="8"/>
                      </a:cubicBezTo>
                      <a:cubicBezTo>
                        <a:pt x="43" y="3"/>
                        <a:pt x="37" y="0"/>
                        <a:pt x="30" y="0"/>
                      </a:cubicBezTo>
                      <a:cubicBezTo>
                        <a:pt x="15" y="0"/>
                        <a:pt x="6" y="9"/>
                        <a:pt x="6" y="20"/>
                      </a:cubicBezTo>
                      <a:cubicBezTo>
                        <a:pt x="6" y="27"/>
                        <a:pt x="6" y="34"/>
                        <a:pt x="6" y="34"/>
                      </a:cubicBezTo>
                      <a:cubicBezTo>
                        <a:pt x="6" y="34"/>
                        <a:pt x="3" y="33"/>
                        <a:pt x="2" y="36"/>
                      </a:cubicBezTo>
                      <a:cubicBezTo>
                        <a:pt x="0" y="40"/>
                        <a:pt x="2" y="47"/>
                        <a:pt x="5" y="50"/>
                      </a:cubicBezTo>
                      <a:cubicBezTo>
                        <a:pt x="7" y="51"/>
                        <a:pt x="10" y="51"/>
                        <a:pt x="10" y="51"/>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27" name="Freeform 174"/>
                <p:cNvSpPr>
                  <a:spLocks/>
                </p:cNvSpPr>
                <p:nvPr/>
              </p:nvSpPr>
              <p:spPr bwMode="auto">
                <a:xfrm>
                  <a:off x="3042127" y="5630398"/>
                  <a:ext cx="76900" cy="109278"/>
                </a:xfrm>
                <a:custGeom>
                  <a:avLst/>
                  <a:gdLst>
                    <a:gd name="T0" fmla="*/ 10 w 66"/>
                    <a:gd name="T1" fmla="*/ 57 h 93"/>
                    <a:gd name="T2" fmla="*/ 14 w 66"/>
                    <a:gd name="T3" fmla="*/ 73 h 93"/>
                    <a:gd name="T4" fmla="*/ 14 w 66"/>
                    <a:gd name="T5" fmla="*/ 79 h 93"/>
                    <a:gd name="T6" fmla="*/ 33 w 66"/>
                    <a:gd name="T7" fmla="*/ 93 h 93"/>
                    <a:gd name="T8" fmla="*/ 52 w 66"/>
                    <a:gd name="T9" fmla="*/ 79 h 93"/>
                    <a:gd name="T10" fmla="*/ 52 w 66"/>
                    <a:gd name="T11" fmla="*/ 73 h 93"/>
                    <a:gd name="T12" fmla="*/ 56 w 66"/>
                    <a:gd name="T13" fmla="*/ 57 h 93"/>
                    <a:gd name="T14" fmla="*/ 60 w 66"/>
                    <a:gd name="T15" fmla="*/ 56 h 93"/>
                    <a:gd name="T16" fmla="*/ 64 w 66"/>
                    <a:gd name="T17" fmla="*/ 40 h 93"/>
                    <a:gd name="T18" fmla="*/ 61 w 66"/>
                    <a:gd name="T19" fmla="*/ 38 h 93"/>
                    <a:gd name="T20" fmla="*/ 61 w 66"/>
                    <a:gd name="T21" fmla="*/ 23 h 93"/>
                    <a:gd name="T22" fmla="*/ 50 w 66"/>
                    <a:gd name="T23" fmla="*/ 7 h 93"/>
                    <a:gd name="T24" fmla="*/ 33 w 66"/>
                    <a:gd name="T25" fmla="*/ 0 h 93"/>
                    <a:gd name="T26" fmla="*/ 5 w 66"/>
                    <a:gd name="T27" fmla="*/ 22 h 93"/>
                    <a:gd name="T28" fmla="*/ 5 w 66"/>
                    <a:gd name="T29" fmla="*/ 38 h 93"/>
                    <a:gd name="T30" fmla="*/ 2 w 66"/>
                    <a:gd name="T31" fmla="*/ 40 h 93"/>
                    <a:gd name="T32" fmla="*/ 6 w 66"/>
                    <a:gd name="T33" fmla="*/ 56 h 93"/>
                    <a:gd name="T34" fmla="*/ 10 w 66"/>
                    <a:gd name="T35" fmla="*/ 5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93">
                      <a:moveTo>
                        <a:pt x="10" y="57"/>
                      </a:moveTo>
                      <a:cubicBezTo>
                        <a:pt x="14" y="73"/>
                        <a:pt x="14" y="73"/>
                        <a:pt x="14" y="73"/>
                      </a:cubicBezTo>
                      <a:cubicBezTo>
                        <a:pt x="14" y="79"/>
                        <a:pt x="14" y="79"/>
                        <a:pt x="14" y="79"/>
                      </a:cubicBezTo>
                      <a:cubicBezTo>
                        <a:pt x="33" y="93"/>
                        <a:pt x="33" y="93"/>
                        <a:pt x="33" y="93"/>
                      </a:cubicBezTo>
                      <a:cubicBezTo>
                        <a:pt x="52" y="79"/>
                        <a:pt x="52" y="79"/>
                        <a:pt x="52" y="79"/>
                      </a:cubicBezTo>
                      <a:cubicBezTo>
                        <a:pt x="52" y="73"/>
                        <a:pt x="52" y="73"/>
                        <a:pt x="52" y="73"/>
                      </a:cubicBezTo>
                      <a:cubicBezTo>
                        <a:pt x="56" y="57"/>
                        <a:pt x="56" y="57"/>
                        <a:pt x="56" y="57"/>
                      </a:cubicBezTo>
                      <a:cubicBezTo>
                        <a:pt x="56" y="57"/>
                        <a:pt x="58" y="57"/>
                        <a:pt x="60" y="56"/>
                      </a:cubicBezTo>
                      <a:cubicBezTo>
                        <a:pt x="64" y="52"/>
                        <a:pt x="66" y="45"/>
                        <a:pt x="64" y="40"/>
                      </a:cubicBezTo>
                      <a:cubicBezTo>
                        <a:pt x="62" y="37"/>
                        <a:pt x="61" y="38"/>
                        <a:pt x="61" y="38"/>
                      </a:cubicBezTo>
                      <a:cubicBezTo>
                        <a:pt x="61" y="38"/>
                        <a:pt x="61" y="31"/>
                        <a:pt x="61" y="23"/>
                      </a:cubicBezTo>
                      <a:cubicBezTo>
                        <a:pt x="61" y="14"/>
                        <a:pt x="58" y="7"/>
                        <a:pt x="50" y="7"/>
                      </a:cubicBezTo>
                      <a:cubicBezTo>
                        <a:pt x="47" y="2"/>
                        <a:pt x="41" y="0"/>
                        <a:pt x="33" y="0"/>
                      </a:cubicBezTo>
                      <a:cubicBezTo>
                        <a:pt x="16" y="0"/>
                        <a:pt x="5" y="10"/>
                        <a:pt x="5" y="22"/>
                      </a:cubicBezTo>
                      <a:cubicBezTo>
                        <a:pt x="5" y="30"/>
                        <a:pt x="5" y="38"/>
                        <a:pt x="5" y="38"/>
                      </a:cubicBezTo>
                      <a:cubicBezTo>
                        <a:pt x="5" y="38"/>
                        <a:pt x="4" y="37"/>
                        <a:pt x="2" y="40"/>
                      </a:cubicBezTo>
                      <a:cubicBezTo>
                        <a:pt x="0" y="45"/>
                        <a:pt x="2" y="52"/>
                        <a:pt x="6" y="56"/>
                      </a:cubicBezTo>
                      <a:cubicBezTo>
                        <a:pt x="8" y="57"/>
                        <a:pt x="10" y="57"/>
                        <a:pt x="10" y="57"/>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grpSp>
        </p:grpSp>
        <p:sp>
          <p:nvSpPr>
            <p:cNvPr id="128" name="TextBox 127"/>
            <p:cNvSpPr txBox="1"/>
            <p:nvPr/>
          </p:nvSpPr>
          <p:spPr>
            <a:xfrm>
              <a:off x="5382639" y="5358598"/>
              <a:ext cx="1126912" cy="230832"/>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buClr>
                  <a:srgbClr val="FFFFFF"/>
                </a:buClr>
              </a:pPr>
              <a:r>
                <a:rPr lang="es-CO" sz="1500" dirty="0">
                  <a:solidFill>
                    <a:srgbClr val="000000"/>
                  </a:solidFill>
                  <a:latin typeface="Arial"/>
                </a:rPr>
                <a:t>Capacidades</a:t>
              </a:r>
            </a:p>
          </p:txBody>
        </p:sp>
      </p:grpSp>
      <p:grpSp>
        <p:nvGrpSpPr>
          <p:cNvPr id="6" name="Group 5">
            <a:extLst>
              <a:ext uri="{FF2B5EF4-FFF2-40B4-BE49-F238E27FC236}">
                <a16:creationId xmlns:a16="http://schemas.microsoft.com/office/drawing/2014/main" id="{5D2F17ED-167D-4BDD-B10A-C3DFB87C9DF2}"/>
              </a:ext>
            </a:extLst>
          </p:cNvPr>
          <p:cNvGrpSpPr/>
          <p:nvPr/>
        </p:nvGrpSpPr>
        <p:grpSpPr>
          <a:xfrm>
            <a:off x="4825178" y="4519273"/>
            <a:ext cx="1400622" cy="387915"/>
            <a:chOff x="4914453" y="4811730"/>
            <a:chExt cx="1400622" cy="387915"/>
          </a:xfrm>
        </p:grpSpPr>
        <p:grpSp>
          <p:nvGrpSpPr>
            <p:cNvPr id="184" name="Group 183"/>
            <p:cNvGrpSpPr/>
            <p:nvPr/>
          </p:nvGrpSpPr>
          <p:grpSpPr>
            <a:xfrm>
              <a:off x="4914453" y="4811730"/>
              <a:ext cx="387914" cy="387915"/>
              <a:chOff x="2995315" y="5198066"/>
              <a:chExt cx="474890" cy="474890"/>
            </a:xfrm>
          </p:grpSpPr>
          <p:sp>
            <p:nvSpPr>
              <p:cNvPr id="185" name="Oval 10"/>
              <p:cNvSpPr>
                <a:spLocks noChangeArrowheads="1"/>
              </p:cNvSpPr>
              <p:nvPr>
                <p:custDataLst>
                  <p:tags r:id="rId29"/>
                </p:custDataLst>
              </p:nvPr>
            </p:nvSpPr>
            <p:spPr bwMode="auto">
              <a:xfrm>
                <a:off x="2995315" y="5198066"/>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FFFFFF"/>
                  </a:solidFill>
                  <a:latin typeface="Arial"/>
                </a:endParaRPr>
              </a:p>
            </p:txBody>
          </p:sp>
          <p:grpSp>
            <p:nvGrpSpPr>
              <p:cNvPr id="186" name="Group 185"/>
              <p:cNvGrpSpPr/>
              <p:nvPr/>
            </p:nvGrpSpPr>
            <p:grpSpPr>
              <a:xfrm>
                <a:off x="3092235" y="5323490"/>
                <a:ext cx="281050" cy="224042"/>
                <a:chOff x="874121" y="919725"/>
                <a:chExt cx="273248" cy="217824"/>
              </a:xfrm>
              <a:solidFill>
                <a:schemeClr val="bg1"/>
              </a:solidFill>
            </p:grpSpPr>
            <p:sp>
              <p:nvSpPr>
                <p:cNvPr id="187" name="Freeform 41"/>
                <p:cNvSpPr>
                  <a:spLocks/>
                </p:cNvSpPr>
                <p:nvPr/>
              </p:nvSpPr>
              <p:spPr bwMode="auto">
                <a:xfrm>
                  <a:off x="896236" y="958918"/>
                  <a:ext cx="49102" cy="16205"/>
                </a:xfrm>
                <a:custGeom>
                  <a:avLst/>
                  <a:gdLst>
                    <a:gd name="T0" fmla="*/ 0 w 131"/>
                    <a:gd name="T1" fmla="*/ 9 h 43"/>
                    <a:gd name="T2" fmla="*/ 0 w 131"/>
                    <a:gd name="T3" fmla="*/ 34 h 43"/>
                    <a:gd name="T4" fmla="*/ 1 w 131"/>
                    <a:gd name="T5" fmla="*/ 38 h 43"/>
                    <a:gd name="T6" fmla="*/ 3 w 131"/>
                    <a:gd name="T7" fmla="*/ 41 h 43"/>
                    <a:gd name="T8" fmla="*/ 5 w 131"/>
                    <a:gd name="T9" fmla="*/ 43 h 43"/>
                    <a:gd name="T10" fmla="*/ 9 w 131"/>
                    <a:gd name="T11" fmla="*/ 43 h 43"/>
                    <a:gd name="T12" fmla="*/ 127 w 131"/>
                    <a:gd name="T13" fmla="*/ 43 h 43"/>
                    <a:gd name="T14" fmla="*/ 127 w 131"/>
                    <a:gd name="T15" fmla="*/ 21 h 43"/>
                    <a:gd name="T16" fmla="*/ 131 w 131"/>
                    <a:gd name="T17" fmla="*/ 0 h 43"/>
                    <a:gd name="T18" fmla="*/ 9 w 131"/>
                    <a:gd name="T19" fmla="*/ 0 h 43"/>
                    <a:gd name="T20" fmla="*/ 5 w 131"/>
                    <a:gd name="T21" fmla="*/ 0 h 43"/>
                    <a:gd name="T22" fmla="*/ 3 w 131"/>
                    <a:gd name="T23" fmla="*/ 2 h 43"/>
                    <a:gd name="T24" fmla="*/ 1 w 131"/>
                    <a:gd name="T25" fmla="*/ 5 h 43"/>
                    <a:gd name="T26" fmla="*/ 0 w 131"/>
                    <a:gd name="T2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1" h="43">
                      <a:moveTo>
                        <a:pt x="0" y="9"/>
                      </a:moveTo>
                      <a:lnTo>
                        <a:pt x="0" y="34"/>
                      </a:lnTo>
                      <a:lnTo>
                        <a:pt x="1" y="38"/>
                      </a:lnTo>
                      <a:lnTo>
                        <a:pt x="3" y="41"/>
                      </a:lnTo>
                      <a:lnTo>
                        <a:pt x="5" y="43"/>
                      </a:lnTo>
                      <a:lnTo>
                        <a:pt x="9" y="43"/>
                      </a:lnTo>
                      <a:lnTo>
                        <a:pt x="127" y="43"/>
                      </a:lnTo>
                      <a:lnTo>
                        <a:pt x="127" y="21"/>
                      </a:lnTo>
                      <a:lnTo>
                        <a:pt x="131" y="0"/>
                      </a:lnTo>
                      <a:lnTo>
                        <a:pt x="9" y="0"/>
                      </a:lnTo>
                      <a:lnTo>
                        <a:pt x="5" y="0"/>
                      </a:lnTo>
                      <a:lnTo>
                        <a:pt x="3" y="2"/>
                      </a:lnTo>
                      <a:lnTo>
                        <a:pt x="1" y="5"/>
                      </a:lnTo>
                      <a:lnTo>
                        <a:pt x="0" y="9"/>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50"/>
                  <a:endParaRPr lang="es-CO" sz="1500" dirty="0">
                    <a:solidFill>
                      <a:srgbClr val="000000"/>
                    </a:solidFill>
                    <a:latin typeface="Arial"/>
                  </a:endParaRPr>
                </a:p>
              </p:txBody>
            </p:sp>
            <p:sp>
              <p:nvSpPr>
                <p:cNvPr id="188" name="Freeform 42"/>
                <p:cNvSpPr>
                  <a:spLocks/>
                </p:cNvSpPr>
                <p:nvPr/>
              </p:nvSpPr>
              <p:spPr bwMode="auto">
                <a:xfrm>
                  <a:off x="874121" y="919725"/>
                  <a:ext cx="114696" cy="211040"/>
                </a:xfrm>
                <a:custGeom>
                  <a:avLst/>
                  <a:gdLst>
                    <a:gd name="T0" fmla="*/ 259 w 306"/>
                    <a:gd name="T1" fmla="*/ 497 h 560"/>
                    <a:gd name="T2" fmla="*/ 240 w 306"/>
                    <a:gd name="T3" fmla="*/ 496 h 560"/>
                    <a:gd name="T4" fmla="*/ 222 w 306"/>
                    <a:gd name="T5" fmla="*/ 488 h 560"/>
                    <a:gd name="T6" fmla="*/ 208 w 306"/>
                    <a:gd name="T7" fmla="*/ 477 h 560"/>
                    <a:gd name="T8" fmla="*/ 196 w 306"/>
                    <a:gd name="T9" fmla="*/ 463 h 560"/>
                    <a:gd name="T10" fmla="*/ 189 w 306"/>
                    <a:gd name="T11" fmla="*/ 445 h 560"/>
                    <a:gd name="T12" fmla="*/ 186 w 306"/>
                    <a:gd name="T13" fmla="*/ 426 h 560"/>
                    <a:gd name="T14" fmla="*/ 186 w 306"/>
                    <a:gd name="T15" fmla="*/ 369 h 560"/>
                    <a:gd name="T16" fmla="*/ 32 w 306"/>
                    <a:gd name="T17" fmla="*/ 369 h 560"/>
                    <a:gd name="T18" fmla="*/ 32 w 306"/>
                    <a:gd name="T19" fmla="*/ 34 h 560"/>
                    <a:gd name="T20" fmla="*/ 34 w 306"/>
                    <a:gd name="T21" fmla="*/ 33 h 560"/>
                    <a:gd name="T22" fmla="*/ 35 w 306"/>
                    <a:gd name="T23" fmla="*/ 33 h 560"/>
                    <a:gd name="T24" fmla="*/ 271 w 306"/>
                    <a:gd name="T25" fmla="*/ 33 h 560"/>
                    <a:gd name="T26" fmla="*/ 272 w 306"/>
                    <a:gd name="T27" fmla="*/ 33 h 560"/>
                    <a:gd name="T28" fmla="*/ 273 w 306"/>
                    <a:gd name="T29" fmla="*/ 34 h 560"/>
                    <a:gd name="T30" fmla="*/ 273 w 306"/>
                    <a:gd name="T31" fmla="*/ 54 h 560"/>
                    <a:gd name="T32" fmla="*/ 306 w 306"/>
                    <a:gd name="T33" fmla="*/ 54 h 560"/>
                    <a:gd name="T34" fmla="*/ 306 w 306"/>
                    <a:gd name="T35" fmla="*/ 34 h 560"/>
                    <a:gd name="T36" fmla="*/ 303 w 306"/>
                    <a:gd name="T37" fmla="*/ 21 h 560"/>
                    <a:gd name="T38" fmla="*/ 295 w 306"/>
                    <a:gd name="T39" fmla="*/ 10 h 560"/>
                    <a:gd name="T40" fmla="*/ 285 w 306"/>
                    <a:gd name="T41" fmla="*/ 2 h 560"/>
                    <a:gd name="T42" fmla="*/ 271 w 306"/>
                    <a:gd name="T43" fmla="*/ 0 h 560"/>
                    <a:gd name="T44" fmla="*/ 35 w 306"/>
                    <a:gd name="T45" fmla="*/ 0 h 560"/>
                    <a:gd name="T46" fmla="*/ 21 w 306"/>
                    <a:gd name="T47" fmla="*/ 2 h 560"/>
                    <a:gd name="T48" fmla="*/ 10 w 306"/>
                    <a:gd name="T49" fmla="*/ 10 h 560"/>
                    <a:gd name="T50" fmla="*/ 3 w 306"/>
                    <a:gd name="T51" fmla="*/ 21 h 560"/>
                    <a:gd name="T52" fmla="*/ 0 w 306"/>
                    <a:gd name="T53" fmla="*/ 34 h 560"/>
                    <a:gd name="T54" fmla="*/ 0 w 306"/>
                    <a:gd name="T55" fmla="*/ 524 h 560"/>
                    <a:gd name="T56" fmla="*/ 3 w 306"/>
                    <a:gd name="T57" fmla="*/ 538 h 560"/>
                    <a:gd name="T58" fmla="*/ 10 w 306"/>
                    <a:gd name="T59" fmla="*/ 550 h 560"/>
                    <a:gd name="T60" fmla="*/ 21 w 306"/>
                    <a:gd name="T61" fmla="*/ 556 h 560"/>
                    <a:gd name="T62" fmla="*/ 35 w 306"/>
                    <a:gd name="T63" fmla="*/ 560 h 560"/>
                    <a:gd name="T64" fmla="*/ 271 w 306"/>
                    <a:gd name="T65" fmla="*/ 560 h 560"/>
                    <a:gd name="T66" fmla="*/ 285 w 306"/>
                    <a:gd name="T67" fmla="*/ 556 h 560"/>
                    <a:gd name="T68" fmla="*/ 295 w 306"/>
                    <a:gd name="T69" fmla="*/ 550 h 560"/>
                    <a:gd name="T70" fmla="*/ 303 w 306"/>
                    <a:gd name="T71" fmla="*/ 538 h 560"/>
                    <a:gd name="T72" fmla="*/ 306 w 306"/>
                    <a:gd name="T73" fmla="*/ 524 h 560"/>
                    <a:gd name="T74" fmla="*/ 306 w 306"/>
                    <a:gd name="T75" fmla="*/ 497 h 560"/>
                    <a:gd name="T76" fmla="*/ 259 w 306"/>
                    <a:gd name="T77" fmla="*/ 497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6" h="560">
                      <a:moveTo>
                        <a:pt x="259" y="497"/>
                      </a:moveTo>
                      <a:lnTo>
                        <a:pt x="240" y="496"/>
                      </a:lnTo>
                      <a:lnTo>
                        <a:pt x="222" y="488"/>
                      </a:lnTo>
                      <a:lnTo>
                        <a:pt x="208" y="477"/>
                      </a:lnTo>
                      <a:lnTo>
                        <a:pt x="196" y="463"/>
                      </a:lnTo>
                      <a:lnTo>
                        <a:pt x="189" y="445"/>
                      </a:lnTo>
                      <a:lnTo>
                        <a:pt x="186" y="426"/>
                      </a:lnTo>
                      <a:lnTo>
                        <a:pt x="186" y="369"/>
                      </a:lnTo>
                      <a:lnTo>
                        <a:pt x="32" y="369"/>
                      </a:lnTo>
                      <a:lnTo>
                        <a:pt x="32" y="34"/>
                      </a:lnTo>
                      <a:lnTo>
                        <a:pt x="34" y="33"/>
                      </a:lnTo>
                      <a:lnTo>
                        <a:pt x="35" y="33"/>
                      </a:lnTo>
                      <a:lnTo>
                        <a:pt x="271" y="33"/>
                      </a:lnTo>
                      <a:lnTo>
                        <a:pt x="272" y="33"/>
                      </a:lnTo>
                      <a:lnTo>
                        <a:pt x="273" y="34"/>
                      </a:lnTo>
                      <a:lnTo>
                        <a:pt x="273" y="54"/>
                      </a:lnTo>
                      <a:lnTo>
                        <a:pt x="306" y="54"/>
                      </a:lnTo>
                      <a:lnTo>
                        <a:pt x="306" y="34"/>
                      </a:lnTo>
                      <a:lnTo>
                        <a:pt x="303" y="21"/>
                      </a:lnTo>
                      <a:lnTo>
                        <a:pt x="295" y="10"/>
                      </a:lnTo>
                      <a:lnTo>
                        <a:pt x="285" y="2"/>
                      </a:lnTo>
                      <a:lnTo>
                        <a:pt x="271" y="0"/>
                      </a:lnTo>
                      <a:lnTo>
                        <a:pt x="35" y="0"/>
                      </a:lnTo>
                      <a:lnTo>
                        <a:pt x="21" y="2"/>
                      </a:lnTo>
                      <a:lnTo>
                        <a:pt x="10" y="10"/>
                      </a:lnTo>
                      <a:lnTo>
                        <a:pt x="3" y="21"/>
                      </a:lnTo>
                      <a:lnTo>
                        <a:pt x="0" y="34"/>
                      </a:lnTo>
                      <a:lnTo>
                        <a:pt x="0" y="524"/>
                      </a:lnTo>
                      <a:lnTo>
                        <a:pt x="3" y="538"/>
                      </a:lnTo>
                      <a:lnTo>
                        <a:pt x="10" y="550"/>
                      </a:lnTo>
                      <a:lnTo>
                        <a:pt x="21" y="556"/>
                      </a:lnTo>
                      <a:lnTo>
                        <a:pt x="35" y="560"/>
                      </a:lnTo>
                      <a:lnTo>
                        <a:pt x="271" y="560"/>
                      </a:lnTo>
                      <a:lnTo>
                        <a:pt x="285" y="556"/>
                      </a:lnTo>
                      <a:lnTo>
                        <a:pt x="295" y="550"/>
                      </a:lnTo>
                      <a:lnTo>
                        <a:pt x="303" y="538"/>
                      </a:lnTo>
                      <a:lnTo>
                        <a:pt x="306" y="524"/>
                      </a:lnTo>
                      <a:lnTo>
                        <a:pt x="306" y="497"/>
                      </a:lnTo>
                      <a:lnTo>
                        <a:pt x="259" y="497"/>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50"/>
                  <a:endParaRPr lang="es-CO" sz="1500" dirty="0">
                    <a:solidFill>
                      <a:srgbClr val="000000"/>
                    </a:solidFill>
                    <a:latin typeface="Arial"/>
                  </a:endParaRPr>
                </a:p>
              </p:txBody>
            </p:sp>
            <p:sp>
              <p:nvSpPr>
                <p:cNvPr id="189" name="Freeform 43"/>
                <p:cNvSpPr>
                  <a:spLocks noEditPoints="1"/>
                </p:cNvSpPr>
                <p:nvPr/>
              </p:nvSpPr>
              <p:spPr bwMode="auto">
                <a:xfrm>
                  <a:off x="953210" y="949120"/>
                  <a:ext cx="194159" cy="188429"/>
                </a:xfrm>
                <a:custGeom>
                  <a:avLst/>
                  <a:gdLst>
                    <a:gd name="T0" fmla="*/ 469 w 518"/>
                    <a:gd name="T1" fmla="*/ 395 h 500"/>
                    <a:gd name="T2" fmla="*/ 497 w 518"/>
                    <a:gd name="T3" fmla="*/ 386 h 500"/>
                    <a:gd name="T4" fmla="*/ 515 w 518"/>
                    <a:gd name="T5" fmla="*/ 363 h 500"/>
                    <a:gd name="T6" fmla="*/ 518 w 518"/>
                    <a:gd name="T7" fmla="*/ 47 h 500"/>
                    <a:gd name="T8" fmla="*/ 509 w 518"/>
                    <a:gd name="T9" fmla="*/ 19 h 500"/>
                    <a:gd name="T10" fmla="*/ 485 w 518"/>
                    <a:gd name="T11" fmla="*/ 2 h 500"/>
                    <a:gd name="T12" fmla="*/ 469 w 518"/>
                    <a:gd name="T13" fmla="*/ 0 h 500"/>
                    <a:gd name="T14" fmla="*/ 33 w 518"/>
                    <a:gd name="T15" fmla="*/ 2 h 500"/>
                    <a:gd name="T16" fmla="*/ 10 w 518"/>
                    <a:gd name="T17" fmla="*/ 19 h 500"/>
                    <a:gd name="T18" fmla="*/ 0 w 518"/>
                    <a:gd name="T19" fmla="*/ 47 h 500"/>
                    <a:gd name="T20" fmla="*/ 2 w 518"/>
                    <a:gd name="T21" fmla="*/ 363 h 500"/>
                    <a:gd name="T22" fmla="*/ 20 w 518"/>
                    <a:gd name="T23" fmla="*/ 386 h 500"/>
                    <a:gd name="T24" fmla="*/ 48 w 518"/>
                    <a:gd name="T25" fmla="*/ 395 h 500"/>
                    <a:gd name="T26" fmla="*/ 228 w 518"/>
                    <a:gd name="T27" fmla="*/ 450 h 500"/>
                    <a:gd name="T28" fmla="*/ 213 w 518"/>
                    <a:gd name="T29" fmla="*/ 430 h 500"/>
                    <a:gd name="T30" fmla="*/ 168 w 518"/>
                    <a:gd name="T31" fmla="*/ 436 h 500"/>
                    <a:gd name="T32" fmla="*/ 142 w 518"/>
                    <a:gd name="T33" fmla="*/ 448 h 500"/>
                    <a:gd name="T34" fmla="*/ 138 w 518"/>
                    <a:gd name="T35" fmla="*/ 473 h 500"/>
                    <a:gd name="T36" fmla="*/ 138 w 518"/>
                    <a:gd name="T37" fmla="*/ 475 h 500"/>
                    <a:gd name="T38" fmla="*/ 155 w 518"/>
                    <a:gd name="T39" fmla="*/ 487 h 500"/>
                    <a:gd name="T40" fmla="*/ 198 w 518"/>
                    <a:gd name="T41" fmla="*/ 496 h 500"/>
                    <a:gd name="T42" fmla="*/ 259 w 518"/>
                    <a:gd name="T43" fmla="*/ 500 h 500"/>
                    <a:gd name="T44" fmla="*/ 320 w 518"/>
                    <a:gd name="T45" fmla="*/ 496 h 500"/>
                    <a:gd name="T46" fmla="*/ 364 w 518"/>
                    <a:gd name="T47" fmla="*/ 487 h 500"/>
                    <a:gd name="T48" fmla="*/ 381 w 518"/>
                    <a:gd name="T49" fmla="*/ 475 h 500"/>
                    <a:gd name="T50" fmla="*/ 381 w 518"/>
                    <a:gd name="T51" fmla="*/ 473 h 500"/>
                    <a:gd name="T52" fmla="*/ 381 w 518"/>
                    <a:gd name="T53" fmla="*/ 453 h 500"/>
                    <a:gd name="T54" fmla="*/ 363 w 518"/>
                    <a:gd name="T55" fmla="*/ 440 h 500"/>
                    <a:gd name="T56" fmla="*/ 319 w 518"/>
                    <a:gd name="T57" fmla="*/ 431 h 500"/>
                    <a:gd name="T58" fmla="*/ 290 w 518"/>
                    <a:gd name="T59" fmla="*/ 395 h 500"/>
                    <a:gd name="T60" fmla="*/ 34 w 518"/>
                    <a:gd name="T61" fmla="*/ 44 h 500"/>
                    <a:gd name="T62" fmla="*/ 39 w 518"/>
                    <a:gd name="T63" fmla="*/ 37 h 500"/>
                    <a:gd name="T64" fmla="*/ 48 w 518"/>
                    <a:gd name="T65" fmla="*/ 35 h 500"/>
                    <a:gd name="T66" fmla="*/ 474 w 518"/>
                    <a:gd name="T67" fmla="*/ 35 h 500"/>
                    <a:gd name="T68" fmla="*/ 481 w 518"/>
                    <a:gd name="T69" fmla="*/ 40 h 500"/>
                    <a:gd name="T70" fmla="*/ 483 w 518"/>
                    <a:gd name="T71" fmla="*/ 47 h 500"/>
                    <a:gd name="T72" fmla="*/ 483 w 518"/>
                    <a:gd name="T73" fmla="*/ 316 h 500"/>
                    <a:gd name="T74" fmla="*/ 34 w 518"/>
                    <a:gd name="T75" fmla="*/ 4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8" h="500">
                      <a:moveTo>
                        <a:pt x="290" y="395"/>
                      </a:moveTo>
                      <a:lnTo>
                        <a:pt x="469" y="395"/>
                      </a:lnTo>
                      <a:lnTo>
                        <a:pt x="485" y="392"/>
                      </a:lnTo>
                      <a:lnTo>
                        <a:pt x="497" y="386"/>
                      </a:lnTo>
                      <a:lnTo>
                        <a:pt x="509" y="376"/>
                      </a:lnTo>
                      <a:lnTo>
                        <a:pt x="515" y="363"/>
                      </a:lnTo>
                      <a:lnTo>
                        <a:pt x="518" y="348"/>
                      </a:lnTo>
                      <a:lnTo>
                        <a:pt x="518" y="47"/>
                      </a:lnTo>
                      <a:lnTo>
                        <a:pt x="515" y="32"/>
                      </a:lnTo>
                      <a:lnTo>
                        <a:pt x="509" y="19"/>
                      </a:lnTo>
                      <a:lnTo>
                        <a:pt x="497" y="9"/>
                      </a:lnTo>
                      <a:lnTo>
                        <a:pt x="485" y="2"/>
                      </a:lnTo>
                      <a:lnTo>
                        <a:pt x="469" y="0"/>
                      </a:lnTo>
                      <a:lnTo>
                        <a:pt x="469" y="0"/>
                      </a:lnTo>
                      <a:lnTo>
                        <a:pt x="48" y="0"/>
                      </a:lnTo>
                      <a:lnTo>
                        <a:pt x="33" y="2"/>
                      </a:lnTo>
                      <a:lnTo>
                        <a:pt x="20" y="9"/>
                      </a:lnTo>
                      <a:lnTo>
                        <a:pt x="10" y="19"/>
                      </a:lnTo>
                      <a:lnTo>
                        <a:pt x="2" y="32"/>
                      </a:lnTo>
                      <a:lnTo>
                        <a:pt x="0" y="47"/>
                      </a:lnTo>
                      <a:lnTo>
                        <a:pt x="0" y="348"/>
                      </a:lnTo>
                      <a:lnTo>
                        <a:pt x="2" y="363"/>
                      </a:lnTo>
                      <a:lnTo>
                        <a:pt x="10" y="376"/>
                      </a:lnTo>
                      <a:lnTo>
                        <a:pt x="20" y="386"/>
                      </a:lnTo>
                      <a:lnTo>
                        <a:pt x="33" y="392"/>
                      </a:lnTo>
                      <a:lnTo>
                        <a:pt x="48" y="395"/>
                      </a:lnTo>
                      <a:lnTo>
                        <a:pt x="228" y="395"/>
                      </a:lnTo>
                      <a:lnTo>
                        <a:pt x="228" y="450"/>
                      </a:lnTo>
                      <a:lnTo>
                        <a:pt x="213" y="450"/>
                      </a:lnTo>
                      <a:lnTo>
                        <a:pt x="213" y="430"/>
                      </a:lnTo>
                      <a:lnTo>
                        <a:pt x="188" y="432"/>
                      </a:lnTo>
                      <a:lnTo>
                        <a:pt x="168" y="436"/>
                      </a:lnTo>
                      <a:lnTo>
                        <a:pt x="151" y="441"/>
                      </a:lnTo>
                      <a:lnTo>
                        <a:pt x="142" y="448"/>
                      </a:lnTo>
                      <a:lnTo>
                        <a:pt x="138" y="453"/>
                      </a:lnTo>
                      <a:lnTo>
                        <a:pt x="138" y="473"/>
                      </a:lnTo>
                      <a:lnTo>
                        <a:pt x="138" y="473"/>
                      </a:lnTo>
                      <a:lnTo>
                        <a:pt x="138" y="475"/>
                      </a:lnTo>
                      <a:lnTo>
                        <a:pt x="142" y="481"/>
                      </a:lnTo>
                      <a:lnTo>
                        <a:pt x="155" y="487"/>
                      </a:lnTo>
                      <a:lnTo>
                        <a:pt x="173" y="493"/>
                      </a:lnTo>
                      <a:lnTo>
                        <a:pt x="198" y="496"/>
                      </a:lnTo>
                      <a:lnTo>
                        <a:pt x="227" y="499"/>
                      </a:lnTo>
                      <a:lnTo>
                        <a:pt x="259" y="500"/>
                      </a:lnTo>
                      <a:lnTo>
                        <a:pt x="291" y="499"/>
                      </a:lnTo>
                      <a:lnTo>
                        <a:pt x="320" y="496"/>
                      </a:lnTo>
                      <a:lnTo>
                        <a:pt x="345" y="493"/>
                      </a:lnTo>
                      <a:lnTo>
                        <a:pt x="364" y="487"/>
                      </a:lnTo>
                      <a:lnTo>
                        <a:pt x="376" y="481"/>
                      </a:lnTo>
                      <a:lnTo>
                        <a:pt x="381" y="475"/>
                      </a:lnTo>
                      <a:lnTo>
                        <a:pt x="379" y="473"/>
                      </a:lnTo>
                      <a:lnTo>
                        <a:pt x="381" y="473"/>
                      </a:lnTo>
                      <a:lnTo>
                        <a:pt x="381" y="453"/>
                      </a:lnTo>
                      <a:lnTo>
                        <a:pt x="381" y="453"/>
                      </a:lnTo>
                      <a:lnTo>
                        <a:pt x="376" y="446"/>
                      </a:lnTo>
                      <a:lnTo>
                        <a:pt x="363" y="440"/>
                      </a:lnTo>
                      <a:lnTo>
                        <a:pt x="345" y="435"/>
                      </a:lnTo>
                      <a:lnTo>
                        <a:pt x="319" y="431"/>
                      </a:lnTo>
                      <a:lnTo>
                        <a:pt x="290" y="428"/>
                      </a:lnTo>
                      <a:lnTo>
                        <a:pt x="290" y="395"/>
                      </a:lnTo>
                      <a:close/>
                      <a:moveTo>
                        <a:pt x="34" y="47"/>
                      </a:moveTo>
                      <a:lnTo>
                        <a:pt x="34" y="44"/>
                      </a:lnTo>
                      <a:lnTo>
                        <a:pt x="37" y="40"/>
                      </a:lnTo>
                      <a:lnTo>
                        <a:pt x="39" y="37"/>
                      </a:lnTo>
                      <a:lnTo>
                        <a:pt x="43" y="35"/>
                      </a:lnTo>
                      <a:lnTo>
                        <a:pt x="48" y="35"/>
                      </a:lnTo>
                      <a:lnTo>
                        <a:pt x="469" y="35"/>
                      </a:lnTo>
                      <a:lnTo>
                        <a:pt x="474" y="35"/>
                      </a:lnTo>
                      <a:lnTo>
                        <a:pt x="478" y="37"/>
                      </a:lnTo>
                      <a:lnTo>
                        <a:pt x="481" y="40"/>
                      </a:lnTo>
                      <a:lnTo>
                        <a:pt x="483" y="44"/>
                      </a:lnTo>
                      <a:lnTo>
                        <a:pt x="483" y="47"/>
                      </a:lnTo>
                      <a:lnTo>
                        <a:pt x="483" y="313"/>
                      </a:lnTo>
                      <a:lnTo>
                        <a:pt x="483" y="316"/>
                      </a:lnTo>
                      <a:lnTo>
                        <a:pt x="34" y="316"/>
                      </a:lnTo>
                      <a:lnTo>
                        <a:pt x="34" y="47"/>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50"/>
                  <a:endParaRPr lang="es-CO" sz="1500" dirty="0">
                    <a:solidFill>
                      <a:srgbClr val="000000"/>
                    </a:solidFill>
                    <a:latin typeface="Arial"/>
                  </a:endParaRPr>
                </a:p>
              </p:txBody>
            </p:sp>
          </p:grpSp>
        </p:grpSp>
        <p:sp>
          <p:nvSpPr>
            <p:cNvPr id="129" name="TextBox 128"/>
            <p:cNvSpPr txBox="1"/>
            <p:nvPr/>
          </p:nvSpPr>
          <p:spPr>
            <a:xfrm>
              <a:off x="5382640" y="4892551"/>
              <a:ext cx="932435" cy="230832"/>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buClr>
                  <a:srgbClr val="FFFFFF"/>
                </a:buClr>
              </a:pPr>
              <a:r>
                <a:rPr lang="es-CO" sz="1500" dirty="0">
                  <a:solidFill>
                    <a:srgbClr val="000000"/>
                  </a:solidFill>
                  <a:latin typeface="Arial"/>
                </a:rPr>
                <a:t>Tecnología</a:t>
              </a:r>
            </a:p>
          </p:txBody>
        </p:sp>
      </p:grpSp>
      <p:grpSp>
        <p:nvGrpSpPr>
          <p:cNvPr id="7" name="Group 6">
            <a:extLst>
              <a:ext uri="{FF2B5EF4-FFF2-40B4-BE49-F238E27FC236}">
                <a16:creationId xmlns:a16="http://schemas.microsoft.com/office/drawing/2014/main" id="{47203B07-2840-4ABD-86E3-F3DA6D574034}"/>
              </a:ext>
            </a:extLst>
          </p:cNvPr>
          <p:cNvGrpSpPr/>
          <p:nvPr/>
        </p:nvGrpSpPr>
        <p:grpSpPr>
          <a:xfrm>
            <a:off x="4825179" y="4050136"/>
            <a:ext cx="1861196" cy="387915"/>
            <a:chOff x="4914453" y="4345683"/>
            <a:chExt cx="1861196" cy="387915"/>
          </a:xfrm>
        </p:grpSpPr>
        <p:grpSp>
          <p:nvGrpSpPr>
            <p:cNvPr id="130" name="Group 129"/>
            <p:cNvGrpSpPr/>
            <p:nvPr/>
          </p:nvGrpSpPr>
          <p:grpSpPr>
            <a:xfrm>
              <a:off x="4914453" y="4345683"/>
              <a:ext cx="387914" cy="387915"/>
              <a:chOff x="2843133" y="4365340"/>
              <a:chExt cx="474890" cy="474890"/>
            </a:xfrm>
          </p:grpSpPr>
          <p:sp>
            <p:nvSpPr>
              <p:cNvPr id="131" name="Oval 5"/>
              <p:cNvSpPr>
                <a:spLocks noChangeArrowheads="1"/>
              </p:cNvSpPr>
              <p:nvPr/>
            </p:nvSpPr>
            <p:spPr bwMode="auto">
              <a:xfrm>
                <a:off x="2843133" y="4365340"/>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FFFFFF"/>
                  </a:solidFill>
                  <a:latin typeface="Arial"/>
                </a:endParaRPr>
              </a:p>
            </p:txBody>
          </p:sp>
          <p:grpSp>
            <p:nvGrpSpPr>
              <p:cNvPr id="132" name="Group 131"/>
              <p:cNvGrpSpPr/>
              <p:nvPr/>
            </p:nvGrpSpPr>
            <p:grpSpPr>
              <a:xfrm>
                <a:off x="2943853" y="4443989"/>
                <a:ext cx="273452" cy="308090"/>
                <a:chOff x="2978747" y="4483303"/>
                <a:chExt cx="203663" cy="229461"/>
              </a:xfrm>
            </p:grpSpPr>
            <p:sp>
              <p:nvSpPr>
                <p:cNvPr id="133" name="Freeform 91"/>
                <p:cNvSpPr>
                  <a:spLocks noEditPoints="1"/>
                </p:cNvSpPr>
                <p:nvPr/>
              </p:nvSpPr>
              <p:spPr bwMode="auto">
                <a:xfrm>
                  <a:off x="3009975" y="4666600"/>
                  <a:ext cx="162930" cy="46164"/>
                </a:xfrm>
                <a:custGeom>
                  <a:avLst/>
                  <a:gdLst>
                    <a:gd name="T0" fmla="*/ 54 w 108"/>
                    <a:gd name="T1" fmla="*/ 0 h 31"/>
                    <a:gd name="T2" fmla="*/ 0 w 108"/>
                    <a:gd name="T3" fmla="*/ 16 h 31"/>
                    <a:gd name="T4" fmla="*/ 54 w 108"/>
                    <a:gd name="T5" fmla="*/ 31 h 31"/>
                    <a:gd name="T6" fmla="*/ 108 w 108"/>
                    <a:gd name="T7" fmla="*/ 16 h 31"/>
                    <a:gd name="T8" fmla="*/ 54 w 108"/>
                    <a:gd name="T9" fmla="*/ 0 h 31"/>
                    <a:gd name="T10" fmla="*/ 54 w 108"/>
                    <a:gd name="T11" fmla="*/ 23 h 31"/>
                    <a:gd name="T12" fmla="*/ 27 w 108"/>
                    <a:gd name="T13" fmla="*/ 16 h 31"/>
                    <a:gd name="T14" fmla="*/ 54 w 108"/>
                    <a:gd name="T15" fmla="*/ 8 h 31"/>
                    <a:gd name="T16" fmla="*/ 81 w 108"/>
                    <a:gd name="T17" fmla="*/ 16 h 31"/>
                    <a:gd name="T18" fmla="*/ 54 w 108"/>
                    <a:gd name="T19"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31">
                      <a:moveTo>
                        <a:pt x="54" y="0"/>
                      </a:moveTo>
                      <a:cubicBezTo>
                        <a:pt x="24" y="0"/>
                        <a:pt x="0" y="7"/>
                        <a:pt x="0" y="16"/>
                      </a:cubicBezTo>
                      <a:cubicBezTo>
                        <a:pt x="0" y="24"/>
                        <a:pt x="24" y="31"/>
                        <a:pt x="54" y="31"/>
                      </a:cubicBezTo>
                      <a:cubicBezTo>
                        <a:pt x="84" y="31"/>
                        <a:pt x="108" y="24"/>
                        <a:pt x="108" y="16"/>
                      </a:cubicBezTo>
                      <a:cubicBezTo>
                        <a:pt x="108" y="7"/>
                        <a:pt x="84" y="0"/>
                        <a:pt x="54" y="0"/>
                      </a:cubicBezTo>
                      <a:close/>
                      <a:moveTo>
                        <a:pt x="54" y="23"/>
                      </a:moveTo>
                      <a:cubicBezTo>
                        <a:pt x="39" y="23"/>
                        <a:pt x="27" y="20"/>
                        <a:pt x="27" y="16"/>
                      </a:cubicBezTo>
                      <a:cubicBezTo>
                        <a:pt x="27" y="12"/>
                        <a:pt x="39" y="8"/>
                        <a:pt x="54" y="8"/>
                      </a:cubicBezTo>
                      <a:cubicBezTo>
                        <a:pt x="69" y="8"/>
                        <a:pt x="81" y="12"/>
                        <a:pt x="81" y="16"/>
                      </a:cubicBezTo>
                      <a:cubicBezTo>
                        <a:pt x="81" y="20"/>
                        <a:pt x="69" y="23"/>
                        <a:pt x="54" y="23"/>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algn="ctr" defTabSz="685750"/>
                  <a:endParaRPr lang="es-CO" sz="1500" dirty="0">
                    <a:solidFill>
                      <a:srgbClr val="FFFFFF"/>
                    </a:solidFill>
                    <a:latin typeface="Arial"/>
                  </a:endParaRPr>
                </a:p>
              </p:txBody>
            </p:sp>
            <p:sp>
              <p:nvSpPr>
                <p:cNvPr id="134" name="Freeform 92"/>
                <p:cNvSpPr>
                  <a:spLocks/>
                </p:cNvSpPr>
                <p:nvPr/>
              </p:nvSpPr>
              <p:spPr bwMode="auto">
                <a:xfrm>
                  <a:off x="3001828" y="4483303"/>
                  <a:ext cx="180582" cy="141207"/>
                </a:xfrm>
                <a:custGeom>
                  <a:avLst/>
                  <a:gdLst>
                    <a:gd name="T0" fmla="*/ 33 w 121"/>
                    <a:gd name="T1" fmla="*/ 82 h 94"/>
                    <a:gd name="T2" fmla="*/ 82 w 121"/>
                    <a:gd name="T3" fmla="*/ 81 h 94"/>
                    <a:gd name="T4" fmla="*/ 121 w 121"/>
                    <a:gd name="T5" fmla="*/ 74 h 94"/>
                    <a:gd name="T6" fmla="*/ 84 w 121"/>
                    <a:gd name="T7" fmla="*/ 15 h 94"/>
                    <a:gd name="T8" fmla="*/ 51 w 121"/>
                    <a:gd name="T9" fmla="*/ 15 h 94"/>
                    <a:gd name="T10" fmla="*/ 0 w 121"/>
                    <a:gd name="T11" fmla="*/ 20 h 94"/>
                    <a:gd name="T12" fmla="*/ 33 w 121"/>
                    <a:gd name="T13" fmla="*/ 82 h 94"/>
                  </a:gdLst>
                  <a:ahLst/>
                  <a:cxnLst>
                    <a:cxn ang="0">
                      <a:pos x="T0" y="T1"/>
                    </a:cxn>
                    <a:cxn ang="0">
                      <a:pos x="T2" y="T3"/>
                    </a:cxn>
                    <a:cxn ang="0">
                      <a:pos x="T4" y="T5"/>
                    </a:cxn>
                    <a:cxn ang="0">
                      <a:pos x="T6" y="T7"/>
                    </a:cxn>
                    <a:cxn ang="0">
                      <a:pos x="T8" y="T9"/>
                    </a:cxn>
                    <a:cxn ang="0">
                      <a:pos x="T10" y="T11"/>
                    </a:cxn>
                    <a:cxn ang="0">
                      <a:pos x="T12" y="T13"/>
                    </a:cxn>
                  </a:cxnLst>
                  <a:rect l="0" t="0" r="r" b="b"/>
                  <a:pathLst>
                    <a:path w="121" h="94">
                      <a:moveTo>
                        <a:pt x="33" y="82"/>
                      </a:moveTo>
                      <a:cubicBezTo>
                        <a:pt x="42" y="66"/>
                        <a:pt x="66" y="69"/>
                        <a:pt x="82" y="81"/>
                      </a:cubicBezTo>
                      <a:cubicBezTo>
                        <a:pt x="100" y="94"/>
                        <a:pt x="117" y="83"/>
                        <a:pt x="121" y="74"/>
                      </a:cubicBezTo>
                      <a:cubicBezTo>
                        <a:pt x="98" y="51"/>
                        <a:pt x="105" y="29"/>
                        <a:pt x="84" y="15"/>
                      </a:cubicBezTo>
                      <a:cubicBezTo>
                        <a:pt x="75" y="21"/>
                        <a:pt x="65" y="24"/>
                        <a:pt x="51" y="15"/>
                      </a:cubicBezTo>
                      <a:cubicBezTo>
                        <a:pt x="28" y="0"/>
                        <a:pt x="7" y="8"/>
                        <a:pt x="0" y="20"/>
                      </a:cubicBezTo>
                      <a:lnTo>
                        <a:pt x="33" y="82"/>
                      </a:ln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algn="ctr" defTabSz="685750"/>
                  <a:endParaRPr lang="es-CO" sz="1500" dirty="0">
                    <a:solidFill>
                      <a:srgbClr val="FFFFFF"/>
                    </a:solidFill>
                    <a:latin typeface="Arial"/>
                  </a:endParaRPr>
                </a:p>
              </p:txBody>
            </p:sp>
            <p:sp>
              <p:nvSpPr>
                <p:cNvPr id="135" name="Freeform 93"/>
                <p:cNvSpPr>
                  <a:spLocks/>
                </p:cNvSpPr>
                <p:nvPr/>
              </p:nvSpPr>
              <p:spPr bwMode="auto">
                <a:xfrm>
                  <a:off x="2978747" y="4499595"/>
                  <a:ext cx="122199" cy="191444"/>
                </a:xfrm>
                <a:custGeom>
                  <a:avLst/>
                  <a:gdLst>
                    <a:gd name="T0" fmla="*/ 75 w 81"/>
                    <a:gd name="T1" fmla="*/ 128 h 128"/>
                    <a:gd name="T2" fmla="*/ 81 w 81"/>
                    <a:gd name="T3" fmla="*/ 127 h 128"/>
                    <a:gd name="T4" fmla="*/ 81 w 81"/>
                    <a:gd name="T5" fmla="*/ 126 h 128"/>
                    <a:gd name="T6" fmla="*/ 15 w 81"/>
                    <a:gd name="T7" fmla="*/ 9 h 128"/>
                    <a:gd name="T8" fmla="*/ 16 w 81"/>
                    <a:gd name="T9" fmla="*/ 7 h 128"/>
                    <a:gd name="T10" fmla="*/ 8 w 81"/>
                    <a:gd name="T11" fmla="*/ 0 h 128"/>
                    <a:gd name="T12" fmla="*/ 0 w 81"/>
                    <a:gd name="T13" fmla="*/ 7 h 128"/>
                    <a:gd name="T14" fmla="*/ 6 w 81"/>
                    <a:gd name="T15" fmla="*/ 15 h 128"/>
                    <a:gd name="T16" fmla="*/ 69 w 81"/>
                    <a:gd name="T17" fmla="*/ 127 h 128"/>
                    <a:gd name="T18" fmla="*/ 75 w 81"/>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128">
                      <a:moveTo>
                        <a:pt x="75" y="128"/>
                      </a:moveTo>
                      <a:cubicBezTo>
                        <a:pt x="78" y="128"/>
                        <a:pt x="80" y="128"/>
                        <a:pt x="81" y="127"/>
                      </a:cubicBezTo>
                      <a:cubicBezTo>
                        <a:pt x="81" y="127"/>
                        <a:pt x="81" y="127"/>
                        <a:pt x="81" y="126"/>
                      </a:cubicBezTo>
                      <a:cubicBezTo>
                        <a:pt x="15" y="9"/>
                        <a:pt x="15" y="9"/>
                        <a:pt x="15" y="9"/>
                      </a:cubicBezTo>
                      <a:cubicBezTo>
                        <a:pt x="16" y="8"/>
                        <a:pt x="16" y="8"/>
                        <a:pt x="16" y="7"/>
                      </a:cubicBezTo>
                      <a:cubicBezTo>
                        <a:pt x="16" y="3"/>
                        <a:pt x="12" y="0"/>
                        <a:pt x="8" y="0"/>
                      </a:cubicBezTo>
                      <a:cubicBezTo>
                        <a:pt x="4" y="0"/>
                        <a:pt x="0" y="3"/>
                        <a:pt x="0" y="7"/>
                      </a:cubicBezTo>
                      <a:cubicBezTo>
                        <a:pt x="0" y="11"/>
                        <a:pt x="3" y="14"/>
                        <a:pt x="6" y="15"/>
                      </a:cubicBezTo>
                      <a:cubicBezTo>
                        <a:pt x="69" y="127"/>
                        <a:pt x="69" y="127"/>
                        <a:pt x="69" y="127"/>
                      </a:cubicBezTo>
                      <a:cubicBezTo>
                        <a:pt x="70" y="128"/>
                        <a:pt x="72" y="128"/>
                        <a:pt x="75" y="128"/>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algn="ctr" defTabSz="685750"/>
                  <a:endParaRPr lang="es-CO" sz="1500" dirty="0">
                    <a:solidFill>
                      <a:srgbClr val="FFFFFF"/>
                    </a:solidFill>
                    <a:latin typeface="Arial"/>
                  </a:endParaRPr>
                </a:p>
              </p:txBody>
            </p:sp>
          </p:grpSp>
        </p:grpSp>
        <p:sp>
          <p:nvSpPr>
            <p:cNvPr id="136" name="TextBox 135"/>
            <p:cNvSpPr txBox="1"/>
            <p:nvPr/>
          </p:nvSpPr>
          <p:spPr>
            <a:xfrm>
              <a:off x="5382639" y="4426508"/>
              <a:ext cx="1393010" cy="230832"/>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spcAft>
                  <a:spcPts val="450"/>
                </a:spcAft>
                <a:buClr>
                  <a:srgbClr val="FFFFFF"/>
                </a:buClr>
              </a:pPr>
              <a:r>
                <a:rPr lang="es-CO" sz="1500" dirty="0">
                  <a:solidFill>
                    <a:srgbClr val="000000"/>
                  </a:solidFill>
                  <a:latin typeface="Arial"/>
                </a:rPr>
                <a:t>Ejecución in situ</a:t>
              </a:r>
            </a:p>
          </p:txBody>
        </p:sp>
      </p:grpSp>
      <p:grpSp>
        <p:nvGrpSpPr>
          <p:cNvPr id="10" name="Group 9">
            <a:extLst>
              <a:ext uri="{FF2B5EF4-FFF2-40B4-BE49-F238E27FC236}">
                <a16:creationId xmlns:a16="http://schemas.microsoft.com/office/drawing/2014/main" id="{2B981395-97C8-4E31-A8EA-65984CC646F0}"/>
              </a:ext>
            </a:extLst>
          </p:cNvPr>
          <p:cNvGrpSpPr/>
          <p:nvPr/>
        </p:nvGrpSpPr>
        <p:grpSpPr>
          <a:xfrm>
            <a:off x="4825178" y="3507249"/>
            <a:ext cx="1465254" cy="461665"/>
            <a:chOff x="4914453" y="3960464"/>
            <a:chExt cx="1465254" cy="461665"/>
          </a:xfrm>
        </p:grpSpPr>
        <p:grpSp>
          <p:nvGrpSpPr>
            <p:cNvPr id="137" name="Group 136"/>
            <p:cNvGrpSpPr/>
            <p:nvPr/>
          </p:nvGrpSpPr>
          <p:grpSpPr>
            <a:xfrm>
              <a:off x="4914453" y="3997339"/>
              <a:ext cx="387914" cy="387915"/>
              <a:chOff x="2843133" y="3805664"/>
              <a:chExt cx="474890" cy="474890"/>
            </a:xfrm>
          </p:grpSpPr>
          <p:sp>
            <p:nvSpPr>
              <p:cNvPr id="138" name="Oval 5"/>
              <p:cNvSpPr>
                <a:spLocks noChangeArrowheads="1"/>
              </p:cNvSpPr>
              <p:nvPr/>
            </p:nvSpPr>
            <p:spPr bwMode="auto">
              <a:xfrm>
                <a:off x="2843133" y="3805664"/>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FFFFFF"/>
                  </a:solidFill>
                  <a:latin typeface="Arial"/>
                </a:endParaRPr>
              </a:p>
            </p:txBody>
          </p:sp>
          <p:grpSp>
            <p:nvGrpSpPr>
              <p:cNvPr id="139" name="Group 138"/>
              <p:cNvGrpSpPr/>
              <p:nvPr/>
            </p:nvGrpSpPr>
            <p:grpSpPr>
              <a:xfrm>
                <a:off x="2895978" y="3935533"/>
                <a:ext cx="365374" cy="223160"/>
                <a:chOff x="2930223" y="3956449"/>
                <a:chExt cx="296883" cy="181328"/>
              </a:xfrm>
            </p:grpSpPr>
            <p:sp>
              <p:nvSpPr>
                <p:cNvPr id="140" name="Rounded Rectangle 56"/>
                <p:cNvSpPr/>
                <p:nvPr>
                  <p:custDataLst>
                    <p:tags r:id="rId24"/>
                  </p:custDataLst>
                </p:nvPr>
              </p:nvSpPr>
              <p:spPr bwMode="gray">
                <a:xfrm>
                  <a:off x="2940445" y="3956449"/>
                  <a:ext cx="162387" cy="123953"/>
                </a:xfrm>
                <a:custGeom>
                  <a:avLst/>
                  <a:gdLst/>
                  <a:ahLst/>
                  <a:cxnLst/>
                  <a:rect l="l" t="t" r="r" b="b"/>
                  <a:pathLst>
                    <a:path w="1059180" h="975360">
                      <a:moveTo>
                        <a:pt x="86358" y="0"/>
                      </a:moveTo>
                      <a:lnTo>
                        <a:pt x="972822" y="0"/>
                      </a:lnTo>
                      <a:cubicBezTo>
                        <a:pt x="1020516" y="0"/>
                        <a:pt x="1059180" y="38664"/>
                        <a:pt x="1059180" y="86358"/>
                      </a:cubicBezTo>
                      <a:lnTo>
                        <a:pt x="1059180" y="889002"/>
                      </a:lnTo>
                      <a:cubicBezTo>
                        <a:pt x="1059180" y="936696"/>
                        <a:pt x="1020516" y="975360"/>
                        <a:pt x="972822" y="975360"/>
                      </a:cubicBezTo>
                      <a:lnTo>
                        <a:pt x="582311" y="975360"/>
                      </a:lnTo>
                      <a:cubicBezTo>
                        <a:pt x="528026" y="920624"/>
                        <a:pt x="452750" y="886774"/>
                        <a:pt x="369569" y="886774"/>
                      </a:cubicBezTo>
                      <a:cubicBezTo>
                        <a:pt x="286388" y="886774"/>
                        <a:pt x="211113" y="920624"/>
                        <a:pt x="156827" y="975360"/>
                      </a:cubicBezTo>
                      <a:lnTo>
                        <a:pt x="86358" y="975360"/>
                      </a:lnTo>
                      <a:cubicBezTo>
                        <a:pt x="38664" y="975360"/>
                        <a:pt x="0" y="936696"/>
                        <a:pt x="0" y="889002"/>
                      </a:cubicBezTo>
                      <a:lnTo>
                        <a:pt x="0" y="86358"/>
                      </a:lnTo>
                      <a:cubicBezTo>
                        <a:pt x="0" y="38664"/>
                        <a:pt x="38664" y="0"/>
                        <a:pt x="86358" y="0"/>
                      </a:cubicBezTo>
                      <a:close/>
                    </a:path>
                  </a:pathLst>
                </a:custGeom>
                <a:solidFill>
                  <a:schemeClr val="bg1"/>
                </a:solidFill>
                <a:ln w="9525" cap="flat" cmpd="sng" algn="ctr">
                  <a:noFill/>
                  <a:prstDash val="solid"/>
                  <a:round/>
                  <a:headEnd type="none" w="med" len="med"/>
                  <a:tailEnd type="none" w="med" len="med"/>
                </a:ln>
                <a:effectLst/>
              </p:spPr>
              <p:txBody>
                <a:bodyPr vert="horz" wrap="none" lIns="68576" tIns="34288" rIns="68576" bIns="34288" numCol="1" rtlCol="0" anchor="t" anchorCtr="0" compatLnSpc="1">
                  <a:prstTxWarp prst="textNoShape">
                    <a:avLst/>
                  </a:prstTxWarp>
                </a:bodyPr>
                <a:lstStyle/>
                <a:p>
                  <a:pPr defTabSz="685750"/>
                  <a:endParaRPr lang="es-CO" sz="1500" dirty="0">
                    <a:solidFill>
                      <a:srgbClr val="FFFFFF"/>
                    </a:solidFill>
                    <a:latin typeface="Arial"/>
                  </a:endParaRPr>
                </a:p>
              </p:txBody>
            </p:sp>
            <p:sp>
              <p:nvSpPr>
                <p:cNvPr id="141" name="Rounded Rectangle 58"/>
                <p:cNvSpPr/>
                <p:nvPr>
                  <p:custDataLst>
                    <p:tags r:id="rId25"/>
                  </p:custDataLst>
                </p:nvPr>
              </p:nvSpPr>
              <p:spPr bwMode="gray">
                <a:xfrm>
                  <a:off x="2930223" y="4089722"/>
                  <a:ext cx="295423" cy="27598"/>
                </a:xfrm>
                <a:custGeom>
                  <a:avLst/>
                  <a:gdLst/>
                  <a:ahLst/>
                  <a:cxnLst/>
                  <a:rect l="l" t="t" r="r" b="b"/>
                  <a:pathLst>
                    <a:path w="1926908" h="217170">
                      <a:moveTo>
                        <a:pt x="1763170" y="0"/>
                      </a:moveTo>
                      <a:lnTo>
                        <a:pt x="1869579" y="0"/>
                      </a:lnTo>
                      <a:cubicBezTo>
                        <a:pt x="1901241" y="0"/>
                        <a:pt x="1926908" y="25667"/>
                        <a:pt x="1926908" y="57329"/>
                      </a:cubicBezTo>
                      <a:lnTo>
                        <a:pt x="1926908" y="159841"/>
                      </a:lnTo>
                      <a:cubicBezTo>
                        <a:pt x="1926908" y="191503"/>
                        <a:pt x="1901241" y="217170"/>
                        <a:pt x="1869579" y="217170"/>
                      </a:cubicBezTo>
                      <a:lnTo>
                        <a:pt x="1786454" y="217170"/>
                      </a:lnTo>
                      <a:cubicBezTo>
                        <a:pt x="1794625" y="192221"/>
                        <a:pt x="1798321" y="165597"/>
                        <a:pt x="1798321" y="138109"/>
                      </a:cubicBezTo>
                      <a:cubicBezTo>
                        <a:pt x="1798321" y="88052"/>
                        <a:pt x="1786063" y="40858"/>
                        <a:pt x="1763170" y="0"/>
                      </a:cubicBezTo>
                      <a:close/>
                      <a:moveTo>
                        <a:pt x="701132" y="0"/>
                      </a:moveTo>
                      <a:lnTo>
                        <a:pt x="1233396" y="0"/>
                      </a:lnTo>
                      <a:cubicBezTo>
                        <a:pt x="1210504" y="40858"/>
                        <a:pt x="1198245" y="88052"/>
                        <a:pt x="1198245" y="138109"/>
                      </a:cubicBezTo>
                      <a:cubicBezTo>
                        <a:pt x="1198245" y="165597"/>
                        <a:pt x="1201942" y="192221"/>
                        <a:pt x="1210113" y="217170"/>
                      </a:cubicBezTo>
                      <a:lnTo>
                        <a:pt x="724416" y="217170"/>
                      </a:lnTo>
                      <a:cubicBezTo>
                        <a:pt x="732587" y="192221"/>
                        <a:pt x="736283" y="165597"/>
                        <a:pt x="736283" y="138109"/>
                      </a:cubicBezTo>
                      <a:cubicBezTo>
                        <a:pt x="736283" y="88052"/>
                        <a:pt x="724025" y="40858"/>
                        <a:pt x="701132" y="0"/>
                      </a:cubicBezTo>
                      <a:close/>
                      <a:moveTo>
                        <a:pt x="57329" y="0"/>
                      </a:moveTo>
                      <a:lnTo>
                        <a:pt x="171358" y="0"/>
                      </a:lnTo>
                      <a:cubicBezTo>
                        <a:pt x="148465" y="40858"/>
                        <a:pt x="136207" y="88052"/>
                        <a:pt x="136207" y="138109"/>
                      </a:cubicBezTo>
                      <a:cubicBezTo>
                        <a:pt x="136207" y="165597"/>
                        <a:pt x="139903" y="192221"/>
                        <a:pt x="148074" y="217170"/>
                      </a:cubicBezTo>
                      <a:lnTo>
                        <a:pt x="57329" y="217170"/>
                      </a:lnTo>
                      <a:cubicBezTo>
                        <a:pt x="25667" y="217170"/>
                        <a:pt x="0" y="191503"/>
                        <a:pt x="0" y="159841"/>
                      </a:cubicBezTo>
                      <a:lnTo>
                        <a:pt x="0" y="57329"/>
                      </a:lnTo>
                      <a:cubicBezTo>
                        <a:pt x="0" y="25667"/>
                        <a:pt x="25667" y="0"/>
                        <a:pt x="57329" y="0"/>
                      </a:cubicBezTo>
                      <a:close/>
                    </a:path>
                  </a:pathLst>
                </a:custGeom>
                <a:solidFill>
                  <a:schemeClr val="bg1"/>
                </a:solidFill>
                <a:ln w="9525" cap="flat" cmpd="sng" algn="ctr">
                  <a:noFill/>
                  <a:prstDash val="solid"/>
                  <a:round/>
                  <a:headEnd type="none" w="med" len="med"/>
                  <a:tailEnd type="none" w="med" len="med"/>
                </a:ln>
                <a:effectLst/>
              </p:spPr>
              <p:txBody>
                <a:bodyPr vert="horz" wrap="none" lIns="68576" tIns="34288" rIns="68576" bIns="34288" numCol="1" rtlCol="0" anchor="t" anchorCtr="0" compatLnSpc="1">
                  <a:prstTxWarp prst="textNoShape">
                    <a:avLst/>
                  </a:prstTxWarp>
                </a:bodyPr>
                <a:lstStyle/>
                <a:p>
                  <a:pPr defTabSz="685750"/>
                  <a:endParaRPr lang="es-CO" sz="1500" dirty="0">
                    <a:solidFill>
                      <a:srgbClr val="FFFFFF"/>
                    </a:solidFill>
                    <a:latin typeface="Arial"/>
                  </a:endParaRPr>
                </a:p>
              </p:txBody>
            </p:sp>
            <p:sp>
              <p:nvSpPr>
                <p:cNvPr id="142" name="Freeform 141"/>
                <p:cNvSpPr/>
                <p:nvPr>
                  <p:custDataLst>
                    <p:tags r:id="rId26"/>
                  </p:custDataLst>
                </p:nvPr>
              </p:nvSpPr>
              <p:spPr bwMode="gray">
                <a:xfrm>
                  <a:off x="3115392" y="3983805"/>
                  <a:ext cx="111714" cy="96596"/>
                </a:xfrm>
                <a:custGeom>
                  <a:avLst/>
                  <a:gdLst>
                    <a:gd name="connsiteX0" fmla="*/ 376238 w 728664"/>
                    <a:gd name="connsiteY0" fmla="*/ 90488 h 760094"/>
                    <a:gd name="connsiteX1" fmla="*/ 114300 w 728664"/>
                    <a:gd name="connsiteY1" fmla="*/ 100013 h 760094"/>
                    <a:gd name="connsiteX2" fmla="*/ 114300 w 728664"/>
                    <a:gd name="connsiteY2" fmla="*/ 390525 h 760094"/>
                    <a:gd name="connsiteX3" fmla="*/ 438150 w 728664"/>
                    <a:gd name="connsiteY3" fmla="*/ 400050 h 760094"/>
                    <a:gd name="connsiteX4" fmla="*/ 376238 w 728664"/>
                    <a:gd name="connsiteY4" fmla="*/ 90488 h 760094"/>
                    <a:gd name="connsiteX5" fmla="*/ 52388 w 728664"/>
                    <a:gd name="connsiteY5" fmla="*/ 0 h 760094"/>
                    <a:gd name="connsiteX6" fmla="*/ 576263 w 728664"/>
                    <a:gd name="connsiteY6" fmla="*/ 0 h 760094"/>
                    <a:gd name="connsiteX7" fmla="*/ 571500 w 728664"/>
                    <a:gd name="connsiteY7" fmla="*/ 85725 h 760094"/>
                    <a:gd name="connsiteX8" fmla="*/ 461963 w 728664"/>
                    <a:gd name="connsiteY8" fmla="*/ 85725 h 760094"/>
                    <a:gd name="connsiteX9" fmla="*/ 547234 w 728664"/>
                    <a:gd name="connsiteY9" fmla="*/ 443861 h 760094"/>
                    <a:gd name="connsiteX10" fmla="*/ 678522 w 728664"/>
                    <a:gd name="connsiteY10" fmla="*/ 443861 h 760094"/>
                    <a:gd name="connsiteX11" fmla="*/ 728664 w 728664"/>
                    <a:gd name="connsiteY11" fmla="*/ 494003 h 760094"/>
                    <a:gd name="connsiteX12" fmla="*/ 728664 w 728664"/>
                    <a:gd name="connsiteY12" fmla="*/ 709952 h 760094"/>
                    <a:gd name="connsiteX13" fmla="*/ 678522 w 728664"/>
                    <a:gd name="connsiteY13" fmla="*/ 760094 h 760094"/>
                    <a:gd name="connsiteX14" fmla="*/ 503254 w 728664"/>
                    <a:gd name="connsiteY14" fmla="*/ 760094 h 760094"/>
                    <a:gd name="connsiteX15" fmla="*/ 290513 w 728664"/>
                    <a:gd name="connsiteY15" fmla="*/ 671509 h 760094"/>
                    <a:gd name="connsiteX16" fmla="*/ 77772 w 728664"/>
                    <a:gd name="connsiteY16" fmla="*/ 760094 h 760094"/>
                    <a:gd name="connsiteX17" fmla="*/ 50142 w 728664"/>
                    <a:gd name="connsiteY17" fmla="*/ 760094 h 760094"/>
                    <a:gd name="connsiteX18" fmla="*/ 0 w 728664"/>
                    <a:gd name="connsiteY18" fmla="*/ 709952 h 760094"/>
                    <a:gd name="connsiteX19" fmla="*/ 0 w 728664"/>
                    <a:gd name="connsiteY19" fmla="*/ 494003 h 760094"/>
                    <a:gd name="connsiteX20" fmla="*/ 9525 w 728664"/>
                    <a:gd name="connsiteY20" fmla="*/ 47625 h 760094"/>
                    <a:gd name="connsiteX21" fmla="*/ 52388 w 728664"/>
                    <a:gd name="connsiteY21" fmla="*/ 0 h 76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8664" h="760094">
                      <a:moveTo>
                        <a:pt x="376238" y="90488"/>
                      </a:moveTo>
                      <a:lnTo>
                        <a:pt x="114300" y="100013"/>
                      </a:lnTo>
                      <a:lnTo>
                        <a:pt x="114300" y="390525"/>
                      </a:lnTo>
                      <a:lnTo>
                        <a:pt x="438150" y="400050"/>
                      </a:lnTo>
                      <a:lnTo>
                        <a:pt x="376238" y="90488"/>
                      </a:lnTo>
                      <a:close/>
                      <a:moveTo>
                        <a:pt x="52388" y="0"/>
                      </a:moveTo>
                      <a:lnTo>
                        <a:pt x="576263" y="0"/>
                      </a:lnTo>
                      <a:lnTo>
                        <a:pt x="571500" y="85725"/>
                      </a:lnTo>
                      <a:lnTo>
                        <a:pt x="461963" y="85725"/>
                      </a:lnTo>
                      <a:lnTo>
                        <a:pt x="547234" y="443861"/>
                      </a:lnTo>
                      <a:lnTo>
                        <a:pt x="678522" y="443861"/>
                      </a:lnTo>
                      <a:cubicBezTo>
                        <a:pt x="706215" y="443861"/>
                        <a:pt x="728664" y="466310"/>
                        <a:pt x="728664" y="494003"/>
                      </a:cubicBezTo>
                      <a:lnTo>
                        <a:pt x="728664" y="709952"/>
                      </a:lnTo>
                      <a:cubicBezTo>
                        <a:pt x="728664" y="737645"/>
                        <a:pt x="706215" y="760094"/>
                        <a:pt x="678522" y="760094"/>
                      </a:cubicBezTo>
                      <a:lnTo>
                        <a:pt x="503254" y="760094"/>
                      </a:lnTo>
                      <a:cubicBezTo>
                        <a:pt x="448969" y="705358"/>
                        <a:pt x="373694" y="671509"/>
                        <a:pt x="290513" y="671509"/>
                      </a:cubicBezTo>
                      <a:cubicBezTo>
                        <a:pt x="207333" y="671509"/>
                        <a:pt x="132058" y="705358"/>
                        <a:pt x="77772" y="760094"/>
                      </a:cubicBezTo>
                      <a:lnTo>
                        <a:pt x="50142" y="760094"/>
                      </a:lnTo>
                      <a:cubicBezTo>
                        <a:pt x="22449" y="760094"/>
                        <a:pt x="0" y="737645"/>
                        <a:pt x="0" y="709952"/>
                      </a:cubicBezTo>
                      <a:lnTo>
                        <a:pt x="0" y="494003"/>
                      </a:lnTo>
                      <a:cubicBezTo>
                        <a:pt x="1587" y="383615"/>
                        <a:pt x="794" y="129959"/>
                        <a:pt x="9525" y="47625"/>
                      </a:cubicBezTo>
                      <a:lnTo>
                        <a:pt x="52388" y="0"/>
                      </a:lnTo>
                      <a:close/>
                    </a:path>
                  </a:pathLst>
                </a:custGeom>
                <a:solidFill>
                  <a:schemeClr val="bg1"/>
                </a:solidFill>
                <a:ln w="9525" cap="flat" cmpd="sng" algn="ctr">
                  <a:noFill/>
                  <a:prstDash val="solid"/>
                  <a:round/>
                  <a:headEnd type="none" w="med" len="med"/>
                  <a:tailEnd type="none" w="med" len="med"/>
                </a:ln>
                <a:effectLst/>
              </p:spPr>
              <p:txBody>
                <a:bodyPr vert="horz" wrap="none" lIns="68576" tIns="34288" rIns="68576" bIns="34288" numCol="1" rtlCol="0" anchor="t" anchorCtr="0" compatLnSpc="1">
                  <a:prstTxWarp prst="textNoShape">
                    <a:avLst/>
                  </a:prstTxWarp>
                </a:bodyPr>
                <a:lstStyle/>
                <a:p>
                  <a:pPr defTabSz="685750"/>
                  <a:endParaRPr lang="es-CO" sz="1500" dirty="0">
                    <a:solidFill>
                      <a:srgbClr val="FFFFFF"/>
                    </a:solidFill>
                    <a:latin typeface="Arial"/>
                  </a:endParaRPr>
                </a:p>
              </p:txBody>
            </p:sp>
            <p:sp>
              <p:nvSpPr>
                <p:cNvPr id="143" name="Oval 60"/>
                <p:cNvSpPr/>
                <p:nvPr>
                  <p:custDataLst>
                    <p:tags r:id="rId27"/>
                  </p:custDataLst>
                </p:nvPr>
              </p:nvSpPr>
              <p:spPr bwMode="gray">
                <a:xfrm>
                  <a:off x="2962780" y="4076769"/>
                  <a:ext cx="68648" cy="61008"/>
                </a:xfrm>
                <a:custGeom>
                  <a:avLst/>
                  <a:gdLst/>
                  <a:ahLst/>
                  <a:cxnLst/>
                  <a:rect l="l" t="t" r="r" b="b"/>
                  <a:pathLst>
                    <a:path w="480060" h="480060">
                      <a:moveTo>
                        <a:pt x="240030" y="135255"/>
                      </a:moveTo>
                      <a:cubicBezTo>
                        <a:pt x="182164" y="135255"/>
                        <a:pt x="135255" y="182164"/>
                        <a:pt x="135255" y="240030"/>
                      </a:cubicBezTo>
                      <a:cubicBezTo>
                        <a:pt x="135255" y="297896"/>
                        <a:pt x="182164" y="344805"/>
                        <a:pt x="240030" y="344805"/>
                      </a:cubicBezTo>
                      <a:cubicBezTo>
                        <a:pt x="297896" y="344805"/>
                        <a:pt x="344805" y="297896"/>
                        <a:pt x="344805" y="240030"/>
                      </a:cubicBezTo>
                      <a:cubicBezTo>
                        <a:pt x="344805" y="182164"/>
                        <a:pt x="297896" y="135255"/>
                        <a:pt x="240030" y="135255"/>
                      </a:cubicBezTo>
                      <a:close/>
                      <a:moveTo>
                        <a:pt x="240030" y="0"/>
                      </a:moveTo>
                      <a:cubicBezTo>
                        <a:pt x="372595" y="0"/>
                        <a:pt x="480060" y="107465"/>
                        <a:pt x="480060" y="240030"/>
                      </a:cubicBezTo>
                      <a:cubicBezTo>
                        <a:pt x="480060" y="372595"/>
                        <a:pt x="372595" y="480060"/>
                        <a:pt x="240030" y="480060"/>
                      </a:cubicBezTo>
                      <a:cubicBezTo>
                        <a:pt x="107465" y="480060"/>
                        <a:pt x="0" y="372595"/>
                        <a:pt x="0" y="240030"/>
                      </a:cubicBezTo>
                      <a:cubicBezTo>
                        <a:pt x="0" y="107465"/>
                        <a:pt x="107465" y="0"/>
                        <a:pt x="240030" y="0"/>
                      </a:cubicBezTo>
                      <a:close/>
                    </a:path>
                  </a:pathLst>
                </a:custGeom>
                <a:solidFill>
                  <a:schemeClr val="bg1"/>
                </a:solidFill>
                <a:ln w="9525" cap="flat" cmpd="sng" algn="ctr">
                  <a:noFill/>
                  <a:prstDash val="solid"/>
                  <a:round/>
                  <a:headEnd type="none" w="med" len="med"/>
                  <a:tailEnd type="none" w="med" len="med"/>
                </a:ln>
                <a:effectLst/>
              </p:spPr>
              <p:txBody>
                <a:bodyPr vert="horz" wrap="none" lIns="68576" tIns="34288" rIns="68576" bIns="34288" numCol="1" rtlCol="0" anchor="t" anchorCtr="0" compatLnSpc="1">
                  <a:prstTxWarp prst="textNoShape">
                    <a:avLst/>
                  </a:prstTxWarp>
                </a:bodyPr>
                <a:lstStyle/>
                <a:p>
                  <a:pPr defTabSz="685750"/>
                  <a:endParaRPr lang="es-CO" sz="1500" dirty="0">
                    <a:solidFill>
                      <a:srgbClr val="FFFFFF"/>
                    </a:solidFill>
                    <a:latin typeface="Arial"/>
                  </a:endParaRPr>
                </a:p>
              </p:txBody>
            </p:sp>
            <p:sp>
              <p:nvSpPr>
                <p:cNvPr id="144" name="Oval 63"/>
                <p:cNvSpPr/>
                <p:nvPr>
                  <p:custDataLst>
                    <p:tags r:id="rId28"/>
                  </p:custDataLst>
                </p:nvPr>
              </p:nvSpPr>
              <p:spPr bwMode="gray">
                <a:xfrm>
                  <a:off x="3125607" y="4076769"/>
                  <a:ext cx="68648" cy="61008"/>
                </a:xfrm>
                <a:custGeom>
                  <a:avLst/>
                  <a:gdLst/>
                  <a:ahLst/>
                  <a:cxnLst/>
                  <a:rect l="l" t="t" r="r" b="b"/>
                  <a:pathLst>
                    <a:path w="480060" h="480060">
                      <a:moveTo>
                        <a:pt x="240030" y="135255"/>
                      </a:moveTo>
                      <a:cubicBezTo>
                        <a:pt x="182164" y="135255"/>
                        <a:pt x="135255" y="182164"/>
                        <a:pt x="135255" y="240030"/>
                      </a:cubicBezTo>
                      <a:cubicBezTo>
                        <a:pt x="135255" y="297896"/>
                        <a:pt x="182164" y="344805"/>
                        <a:pt x="240030" y="344805"/>
                      </a:cubicBezTo>
                      <a:cubicBezTo>
                        <a:pt x="297896" y="344805"/>
                        <a:pt x="344805" y="297896"/>
                        <a:pt x="344805" y="240030"/>
                      </a:cubicBezTo>
                      <a:cubicBezTo>
                        <a:pt x="344805" y="182164"/>
                        <a:pt x="297896" y="135255"/>
                        <a:pt x="240030" y="135255"/>
                      </a:cubicBezTo>
                      <a:close/>
                      <a:moveTo>
                        <a:pt x="240030" y="0"/>
                      </a:moveTo>
                      <a:cubicBezTo>
                        <a:pt x="372595" y="0"/>
                        <a:pt x="480060" y="107465"/>
                        <a:pt x="480060" y="240030"/>
                      </a:cubicBezTo>
                      <a:cubicBezTo>
                        <a:pt x="480060" y="372595"/>
                        <a:pt x="372595" y="480060"/>
                        <a:pt x="240030" y="480060"/>
                      </a:cubicBezTo>
                      <a:cubicBezTo>
                        <a:pt x="107465" y="480060"/>
                        <a:pt x="0" y="372595"/>
                        <a:pt x="0" y="240030"/>
                      </a:cubicBezTo>
                      <a:cubicBezTo>
                        <a:pt x="0" y="107465"/>
                        <a:pt x="107465" y="0"/>
                        <a:pt x="240030" y="0"/>
                      </a:cubicBezTo>
                      <a:close/>
                    </a:path>
                  </a:pathLst>
                </a:custGeom>
                <a:solidFill>
                  <a:schemeClr val="bg1"/>
                </a:solidFill>
                <a:ln w="9525" cap="flat" cmpd="sng" algn="ctr">
                  <a:noFill/>
                  <a:prstDash val="solid"/>
                  <a:round/>
                  <a:headEnd type="none" w="med" len="med"/>
                  <a:tailEnd type="none" w="med" len="med"/>
                </a:ln>
                <a:effectLst/>
              </p:spPr>
              <p:txBody>
                <a:bodyPr vert="horz" wrap="none" lIns="68576" tIns="34288" rIns="68576" bIns="34288" numCol="1" rtlCol="0" anchor="t" anchorCtr="0" compatLnSpc="1">
                  <a:prstTxWarp prst="textNoShape">
                    <a:avLst/>
                  </a:prstTxWarp>
                </a:bodyPr>
                <a:lstStyle/>
                <a:p>
                  <a:pPr defTabSz="685750"/>
                  <a:endParaRPr lang="es-CO" sz="1500" dirty="0">
                    <a:solidFill>
                      <a:srgbClr val="FFFFFF"/>
                    </a:solidFill>
                    <a:latin typeface="Arial"/>
                  </a:endParaRPr>
                </a:p>
              </p:txBody>
            </p:sp>
          </p:grpSp>
        </p:grpSp>
        <p:sp>
          <p:nvSpPr>
            <p:cNvPr id="145" name="TextBox 144"/>
            <p:cNvSpPr txBox="1"/>
            <p:nvPr/>
          </p:nvSpPr>
          <p:spPr>
            <a:xfrm>
              <a:off x="5382639" y="3960464"/>
              <a:ext cx="997068" cy="461665"/>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spcAft>
                  <a:spcPts val="450"/>
                </a:spcAft>
                <a:buClr>
                  <a:srgbClr val="FFFFFF"/>
                </a:buClr>
              </a:pPr>
              <a:r>
                <a:rPr lang="es-CO" sz="1500" dirty="0">
                  <a:solidFill>
                    <a:srgbClr val="000000"/>
                  </a:solidFill>
                  <a:latin typeface="Arial"/>
                </a:rPr>
                <a:t>Cadena de </a:t>
              </a:r>
              <a:br>
                <a:rPr lang="es-CO" sz="1500" dirty="0">
                  <a:solidFill>
                    <a:srgbClr val="000000"/>
                  </a:solidFill>
                  <a:latin typeface="Arial"/>
                </a:rPr>
              </a:br>
              <a:r>
                <a:rPr lang="es-CO" sz="1500" dirty="0">
                  <a:solidFill>
                    <a:srgbClr val="000000"/>
                  </a:solidFill>
                  <a:latin typeface="Arial"/>
                </a:rPr>
                <a:t>suministro</a:t>
              </a:r>
            </a:p>
          </p:txBody>
        </p:sp>
      </p:grpSp>
      <p:grpSp>
        <p:nvGrpSpPr>
          <p:cNvPr id="12" name="Group 11">
            <a:extLst>
              <a:ext uri="{FF2B5EF4-FFF2-40B4-BE49-F238E27FC236}">
                <a16:creationId xmlns:a16="http://schemas.microsoft.com/office/drawing/2014/main" id="{BD498780-8B77-4DE0-9CED-FC480AF93AE1}"/>
              </a:ext>
            </a:extLst>
          </p:cNvPr>
          <p:cNvGrpSpPr/>
          <p:nvPr/>
        </p:nvGrpSpPr>
        <p:grpSpPr>
          <a:xfrm>
            <a:off x="4825178" y="3038112"/>
            <a:ext cx="1069314" cy="387915"/>
            <a:chOff x="4914453" y="3413594"/>
            <a:chExt cx="1069314" cy="387915"/>
          </a:xfrm>
        </p:grpSpPr>
        <p:grpSp>
          <p:nvGrpSpPr>
            <p:cNvPr id="146" name="Group 145"/>
            <p:cNvGrpSpPr/>
            <p:nvPr/>
          </p:nvGrpSpPr>
          <p:grpSpPr>
            <a:xfrm>
              <a:off x="4914453" y="3413594"/>
              <a:ext cx="387914" cy="387915"/>
              <a:chOff x="2843133" y="3245988"/>
              <a:chExt cx="474890" cy="474890"/>
            </a:xfrm>
          </p:grpSpPr>
          <p:sp>
            <p:nvSpPr>
              <p:cNvPr id="147" name="Oval 10"/>
              <p:cNvSpPr>
                <a:spLocks noChangeArrowheads="1"/>
              </p:cNvSpPr>
              <p:nvPr>
                <p:custDataLst>
                  <p:tags r:id="rId23"/>
                </p:custDataLst>
              </p:nvPr>
            </p:nvSpPr>
            <p:spPr bwMode="auto">
              <a:xfrm>
                <a:off x="2843133" y="3245988"/>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FFFFFF"/>
                  </a:solidFill>
                  <a:latin typeface="Arial"/>
                </a:endParaRPr>
              </a:p>
            </p:txBody>
          </p:sp>
          <p:sp>
            <p:nvSpPr>
              <p:cNvPr id="148" name="Freeform 275"/>
              <p:cNvSpPr>
                <a:spLocks noEditPoints="1"/>
              </p:cNvSpPr>
              <p:nvPr/>
            </p:nvSpPr>
            <p:spPr bwMode="auto">
              <a:xfrm>
                <a:off x="2931242" y="3340289"/>
                <a:ext cx="298672" cy="286288"/>
              </a:xfrm>
              <a:custGeom>
                <a:avLst/>
                <a:gdLst>
                  <a:gd name="T0" fmla="*/ 1954 w 2468"/>
                  <a:gd name="T1" fmla="*/ 962 h 2376"/>
                  <a:gd name="T2" fmla="*/ 1953 w 2468"/>
                  <a:gd name="T3" fmla="*/ 963 h 2376"/>
                  <a:gd name="T4" fmla="*/ 2180 w 2468"/>
                  <a:gd name="T5" fmla="*/ 2136 h 2376"/>
                  <a:gd name="T6" fmla="*/ 1762 w 2468"/>
                  <a:gd name="T7" fmla="*/ 2016 h 2376"/>
                  <a:gd name="T8" fmla="*/ 1936 w 2468"/>
                  <a:gd name="T9" fmla="*/ 2000 h 2376"/>
                  <a:gd name="T10" fmla="*/ 1762 w 2468"/>
                  <a:gd name="T11" fmla="*/ 1825 h 2376"/>
                  <a:gd name="T12" fmla="*/ 1936 w 2468"/>
                  <a:gd name="T13" fmla="*/ 1742 h 2376"/>
                  <a:gd name="T14" fmla="*/ 1936 w 2468"/>
                  <a:gd name="T15" fmla="*/ 1672 h 2376"/>
                  <a:gd name="T16" fmla="*/ 1762 w 2468"/>
                  <a:gd name="T17" fmla="*/ 1645 h 2376"/>
                  <a:gd name="T18" fmla="*/ 1936 w 2468"/>
                  <a:gd name="T19" fmla="*/ 1612 h 2376"/>
                  <a:gd name="T20" fmla="*/ 1762 w 2468"/>
                  <a:gd name="T21" fmla="*/ 1454 h 2376"/>
                  <a:gd name="T22" fmla="*/ 1936 w 2468"/>
                  <a:gd name="T23" fmla="*/ 1354 h 2376"/>
                  <a:gd name="T24" fmla="*/ 1936 w 2468"/>
                  <a:gd name="T25" fmla="*/ 1279 h 2376"/>
                  <a:gd name="T26" fmla="*/ 1762 w 2468"/>
                  <a:gd name="T27" fmla="*/ 1274 h 2376"/>
                  <a:gd name="T28" fmla="*/ 1936 w 2468"/>
                  <a:gd name="T29" fmla="*/ 1225 h 2376"/>
                  <a:gd name="T30" fmla="*/ 1762 w 2468"/>
                  <a:gd name="T31" fmla="*/ 1084 h 2376"/>
                  <a:gd name="T32" fmla="*/ 979 w 2468"/>
                  <a:gd name="T33" fmla="*/ 1999 h 2376"/>
                  <a:gd name="T34" fmla="*/ 1129 w 2468"/>
                  <a:gd name="T35" fmla="*/ 1991 h 2376"/>
                  <a:gd name="T36" fmla="*/ 1680 w 2468"/>
                  <a:gd name="T37" fmla="*/ 172 h 2376"/>
                  <a:gd name="T38" fmla="*/ 1267 w 2468"/>
                  <a:gd name="T39" fmla="*/ 0 h 2376"/>
                  <a:gd name="T40" fmla="*/ 855 w 2468"/>
                  <a:gd name="T41" fmla="*/ 172 h 2376"/>
                  <a:gd name="T42" fmla="*/ 572 w 2468"/>
                  <a:gd name="T43" fmla="*/ 665 h 2376"/>
                  <a:gd name="T44" fmla="*/ 288 w 2468"/>
                  <a:gd name="T45" fmla="*/ 2136 h 2376"/>
                  <a:gd name="T46" fmla="*/ 544 w 2468"/>
                  <a:gd name="T47" fmla="*/ 1963 h 2376"/>
                  <a:gd name="T48" fmla="*/ 544 w 2468"/>
                  <a:gd name="T49" fmla="*/ 1880 h 2376"/>
                  <a:gd name="T50" fmla="*/ 328 w 2468"/>
                  <a:gd name="T51" fmla="*/ 1821 h 2376"/>
                  <a:gd name="T52" fmla="*/ 544 w 2468"/>
                  <a:gd name="T53" fmla="*/ 1803 h 2376"/>
                  <a:gd name="T54" fmla="*/ 328 w 2468"/>
                  <a:gd name="T55" fmla="*/ 1584 h 2376"/>
                  <a:gd name="T56" fmla="*/ 544 w 2468"/>
                  <a:gd name="T57" fmla="*/ 1482 h 2376"/>
                  <a:gd name="T58" fmla="*/ 544 w 2468"/>
                  <a:gd name="T59" fmla="*/ 1393 h 2376"/>
                  <a:gd name="T60" fmla="*/ 328 w 2468"/>
                  <a:gd name="T61" fmla="*/ 1361 h 2376"/>
                  <a:gd name="T62" fmla="*/ 544 w 2468"/>
                  <a:gd name="T63" fmla="*/ 1322 h 2376"/>
                  <a:gd name="T64" fmla="*/ 328 w 2468"/>
                  <a:gd name="T65" fmla="*/ 1125 h 2376"/>
                  <a:gd name="T66" fmla="*/ 544 w 2468"/>
                  <a:gd name="T67" fmla="*/ 1001 h 2376"/>
                  <a:gd name="T68" fmla="*/ 544 w 2468"/>
                  <a:gd name="T69" fmla="*/ 907 h 2376"/>
                  <a:gd name="T70" fmla="*/ 328 w 2468"/>
                  <a:gd name="T71" fmla="*/ 902 h 2376"/>
                  <a:gd name="T72" fmla="*/ 544 w 2468"/>
                  <a:gd name="T73" fmla="*/ 841 h 2376"/>
                  <a:gd name="T74" fmla="*/ 1199 w 2468"/>
                  <a:gd name="T75" fmla="*/ 317 h 2376"/>
                  <a:gd name="T76" fmla="*/ 907 w 2468"/>
                  <a:gd name="T77" fmla="*/ 494 h 2376"/>
                  <a:gd name="T78" fmla="*/ 907 w 2468"/>
                  <a:gd name="T79" fmla="*/ 607 h 2376"/>
                  <a:gd name="T80" fmla="*/ 1199 w 2468"/>
                  <a:gd name="T81" fmla="*/ 626 h 2376"/>
                  <a:gd name="T82" fmla="*/ 907 w 2468"/>
                  <a:gd name="T83" fmla="*/ 701 h 2376"/>
                  <a:gd name="T84" fmla="*/ 1199 w 2468"/>
                  <a:gd name="T85" fmla="*/ 969 h 2376"/>
                  <a:gd name="T86" fmla="*/ 907 w 2468"/>
                  <a:gd name="T87" fmla="*/ 1117 h 2376"/>
                  <a:gd name="T88" fmla="*/ 907 w 2468"/>
                  <a:gd name="T89" fmla="*/ 1230 h 2376"/>
                  <a:gd name="T90" fmla="*/ 1199 w 2468"/>
                  <a:gd name="T91" fmla="*/ 1285 h 2376"/>
                  <a:gd name="T92" fmla="*/ 907 w 2468"/>
                  <a:gd name="T93" fmla="*/ 1324 h 2376"/>
                  <a:gd name="T94" fmla="*/ 1199 w 2468"/>
                  <a:gd name="T95" fmla="*/ 1620 h 2376"/>
                  <a:gd name="T96" fmla="*/ 907 w 2468"/>
                  <a:gd name="T97" fmla="*/ 1740 h 2376"/>
                  <a:gd name="T98" fmla="*/ 907 w 2468"/>
                  <a:gd name="T99" fmla="*/ 1853 h 2376"/>
                  <a:gd name="T100" fmla="*/ 81 w 2468"/>
                  <a:gd name="T101" fmla="*/ 2214 h 2376"/>
                  <a:gd name="T102" fmla="*/ 2387 w 2468"/>
                  <a:gd name="T103" fmla="*/ 2376 h 2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8" h="2376">
                    <a:moveTo>
                      <a:pt x="2180" y="1057"/>
                    </a:moveTo>
                    <a:cubicBezTo>
                      <a:pt x="1954" y="963"/>
                      <a:pt x="1954" y="963"/>
                      <a:pt x="1954" y="963"/>
                    </a:cubicBezTo>
                    <a:cubicBezTo>
                      <a:pt x="1954" y="962"/>
                      <a:pt x="1954" y="962"/>
                      <a:pt x="1954" y="962"/>
                    </a:cubicBezTo>
                    <a:cubicBezTo>
                      <a:pt x="1953" y="962"/>
                      <a:pt x="1953" y="962"/>
                      <a:pt x="1953" y="962"/>
                    </a:cubicBezTo>
                    <a:cubicBezTo>
                      <a:pt x="1953" y="962"/>
                      <a:pt x="1953" y="962"/>
                      <a:pt x="1953" y="962"/>
                    </a:cubicBezTo>
                    <a:cubicBezTo>
                      <a:pt x="1953" y="963"/>
                      <a:pt x="1953" y="963"/>
                      <a:pt x="1953" y="963"/>
                    </a:cubicBezTo>
                    <a:cubicBezTo>
                      <a:pt x="1727" y="1057"/>
                      <a:pt x="1727" y="1057"/>
                      <a:pt x="1727" y="1057"/>
                    </a:cubicBezTo>
                    <a:cubicBezTo>
                      <a:pt x="1727" y="2136"/>
                      <a:pt x="1727" y="2136"/>
                      <a:pt x="1727" y="2136"/>
                    </a:cubicBezTo>
                    <a:cubicBezTo>
                      <a:pt x="2180" y="2136"/>
                      <a:pt x="2180" y="2136"/>
                      <a:pt x="2180" y="2136"/>
                    </a:cubicBezTo>
                    <a:lnTo>
                      <a:pt x="2180" y="1057"/>
                    </a:lnTo>
                    <a:close/>
                    <a:moveTo>
                      <a:pt x="1936" y="2000"/>
                    </a:moveTo>
                    <a:cubicBezTo>
                      <a:pt x="1762" y="2016"/>
                      <a:pt x="1762" y="2016"/>
                      <a:pt x="1762" y="2016"/>
                    </a:cubicBezTo>
                    <a:cubicBezTo>
                      <a:pt x="1762" y="1949"/>
                      <a:pt x="1762" y="1949"/>
                      <a:pt x="1762" y="1949"/>
                    </a:cubicBezTo>
                    <a:cubicBezTo>
                      <a:pt x="1936" y="1933"/>
                      <a:pt x="1936" y="1933"/>
                      <a:pt x="1936" y="1933"/>
                    </a:cubicBezTo>
                    <a:lnTo>
                      <a:pt x="1936" y="2000"/>
                    </a:lnTo>
                    <a:close/>
                    <a:moveTo>
                      <a:pt x="1936" y="1871"/>
                    </a:moveTo>
                    <a:cubicBezTo>
                      <a:pt x="1762" y="1892"/>
                      <a:pt x="1762" y="1892"/>
                      <a:pt x="1762" y="1892"/>
                    </a:cubicBezTo>
                    <a:cubicBezTo>
                      <a:pt x="1762" y="1825"/>
                      <a:pt x="1762" y="1825"/>
                      <a:pt x="1762" y="1825"/>
                    </a:cubicBezTo>
                    <a:cubicBezTo>
                      <a:pt x="1936" y="1802"/>
                      <a:pt x="1936" y="1802"/>
                      <a:pt x="1936" y="1802"/>
                    </a:cubicBezTo>
                    <a:lnTo>
                      <a:pt x="1936" y="1871"/>
                    </a:lnTo>
                    <a:close/>
                    <a:moveTo>
                      <a:pt x="1936" y="1742"/>
                    </a:moveTo>
                    <a:cubicBezTo>
                      <a:pt x="1762" y="1769"/>
                      <a:pt x="1762" y="1769"/>
                      <a:pt x="1762" y="1769"/>
                    </a:cubicBezTo>
                    <a:cubicBezTo>
                      <a:pt x="1762" y="1702"/>
                      <a:pt x="1762" y="1702"/>
                      <a:pt x="1762" y="1702"/>
                    </a:cubicBezTo>
                    <a:cubicBezTo>
                      <a:pt x="1936" y="1672"/>
                      <a:pt x="1936" y="1672"/>
                      <a:pt x="1936" y="1672"/>
                    </a:cubicBezTo>
                    <a:lnTo>
                      <a:pt x="1936" y="1742"/>
                    </a:lnTo>
                    <a:close/>
                    <a:moveTo>
                      <a:pt x="1936" y="1612"/>
                    </a:moveTo>
                    <a:cubicBezTo>
                      <a:pt x="1762" y="1645"/>
                      <a:pt x="1762" y="1645"/>
                      <a:pt x="1762" y="1645"/>
                    </a:cubicBezTo>
                    <a:cubicBezTo>
                      <a:pt x="1762" y="1578"/>
                      <a:pt x="1762" y="1578"/>
                      <a:pt x="1762" y="1578"/>
                    </a:cubicBezTo>
                    <a:cubicBezTo>
                      <a:pt x="1936" y="1541"/>
                      <a:pt x="1936" y="1541"/>
                      <a:pt x="1936" y="1541"/>
                    </a:cubicBezTo>
                    <a:lnTo>
                      <a:pt x="1936" y="1612"/>
                    </a:lnTo>
                    <a:close/>
                    <a:moveTo>
                      <a:pt x="1936" y="1483"/>
                    </a:moveTo>
                    <a:cubicBezTo>
                      <a:pt x="1762" y="1522"/>
                      <a:pt x="1762" y="1522"/>
                      <a:pt x="1762" y="1522"/>
                    </a:cubicBezTo>
                    <a:cubicBezTo>
                      <a:pt x="1762" y="1454"/>
                      <a:pt x="1762" y="1454"/>
                      <a:pt x="1762" y="1454"/>
                    </a:cubicBezTo>
                    <a:cubicBezTo>
                      <a:pt x="1936" y="1410"/>
                      <a:pt x="1936" y="1410"/>
                      <a:pt x="1936" y="1410"/>
                    </a:cubicBezTo>
                    <a:lnTo>
                      <a:pt x="1936" y="1483"/>
                    </a:lnTo>
                    <a:close/>
                    <a:moveTo>
                      <a:pt x="1936" y="1354"/>
                    </a:moveTo>
                    <a:cubicBezTo>
                      <a:pt x="1762" y="1398"/>
                      <a:pt x="1762" y="1398"/>
                      <a:pt x="1762" y="1398"/>
                    </a:cubicBezTo>
                    <a:cubicBezTo>
                      <a:pt x="1762" y="1331"/>
                      <a:pt x="1762" y="1331"/>
                      <a:pt x="1762" y="1331"/>
                    </a:cubicBezTo>
                    <a:cubicBezTo>
                      <a:pt x="1936" y="1279"/>
                      <a:pt x="1936" y="1279"/>
                      <a:pt x="1936" y="1279"/>
                    </a:cubicBezTo>
                    <a:lnTo>
                      <a:pt x="1936" y="1354"/>
                    </a:lnTo>
                    <a:close/>
                    <a:moveTo>
                      <a:pt x="1936" y="1225"/>
                    </a:moveTo>
                    <a:cubicBezTo>
                      <a:pt x="1762" y="1274"/>
                      <a:pt x="1762" y="1274"/>
                      <a:pt x="1762" y="1274"/>
                    </a:cubicBezTo>
                    <a:cubicBezTo>
                      <a:pt x="1762" y="1207"/>
                      <a:pt x="1762" y="1207"/>
                      <a:pt x="1762" y="1207"/>
                    </a:cubicBezTo>
                    <a:cubicBezTo>
                      <a:pt x="1936" y="1149"/>
                      <a:pt x="1936" y="1149"/>
                      <a:pt x="1936" y="1149"/>
                    </a:cubicBezTo>
                    <a:lnTo>
                      <a:pt x="1936" y="1225"/>
                    </a:lnTo>
                    <a:close/>
                    <a:moveTo>
                      <a:pt x="1936" y="1095"/>
                    </a:moveTo>
                    <a:cubicBezTo>
                      <a:pt x="1762" y="1151"/>
                      <a:pt x="1762" y="1151"/>
                      <a:pt x="1762" y="1151"/>
                    </a:cubicBezTo>
                    <a:cubicBezTo>
                      <a:pt x="1762" y="1084"/>
                      <a:pt x="1762" y="1084"/>
                      <a:pt x="1762" y="1084"/>
                    </a:cubicBezTo>
                    <a:cubicBezTo>
                      <a:pt x="1936" y="1018"/>
                      <a:pt x="1936" y="1018"/>
                      <a:pt x="1936" y="1018"/>
                    </a:cubicBezTo>
                    <a:lnTo>
                      <a:pt x="1936" y="1095"/>
                    </a:lnTo>
                    <a:close/>
                    <a:moveTo>
                      <a:pt x="979" y="1999"/>
                    </a:moveTo>
                    <a:cubicBezTo>
                      <a:pt x="979" y="1964"/>
                      <a:pt x="1007" y="1934"/>
                      <a:pt x="1042" y="1932"/>
                    </a:cubicBezTo>
                    <a:cubicBezTo>
                      <a:pt x="1065" y="1931"/>
                      <a:pt x="1065" y="1931"/>
                      <a:pt x="1065" y="1931"/>
                    </a:cubicBezTo>
                    <a:cubicBezTo>
                      <a:pt x="1100" y="1929"/>
                      <a:pt x="1129" y="1956"/>
                      <a:pt x="1129" y="1991"/>
                    </a:cubicBezTo>
                    <a:cubicBezTo>
                      <a:pt x="1129" y="2136"/>
                      <a:pt x="1129" y="2136"/>
                      <a:pt x="1129" y="2136"/>
                    </a:cubicBezTo>
                    <a:cubicBezTo>
                      <a:pt x="1680" y="2136"/>
                      <a:pt x="1680" y="2136"/>
                      <a:pt x="1680" y="2136"/>
                    </a:cubicBezTo>
                    <a:cubicBezTo>
                      <a:pt x="1680" y="172"/>
                      <a:pt x="1680" y="172"/>
                      <a:pt x="1680" y="172"/>
                    </a:cubicBezTo>
                    <a:cubicBezTo>
                      <a:pt x="1268" y="1"/>
                      <a:pt x="1268" y="1"/>
                      <a:pt x="1268" y="1"/>
                    </a:cubicBezTo>
                    <a:cubicBezTo>
                      <a:pt x="1268" y="0"/>
                      <a:pt x="1268" y="0"/>
                      <a:pt x="1268" y="0"/>
                    </a:cubicBezTo>
                    <a:cubicBezTo>
                      <a:pt x="1267" y="0"/>
                      <a:pt x="1267" y="0"/>
                      <a:pt x="1267" y="0"/>
                    </a:cubicBezTo>
                    <a:cubicBezTo>
                      <a:pt x="1267" y="0"/>
                      <a:pt x="1267" y="0"/>
                      <a:pt x="1267" y="0"/>
                    </a:cubicBezTo>
                    <a:cubicBezTo>
                      <a:pt x="1267" y="1"/>
                      <a:pt x="1267" y="1"/>
                      <a:pt x="1267" y="1"/>
                    </a:cubicBezTo>
                    <a:cubicBezTo>
                      <a:pt x="855" y="172"/>
                      <a:pt x="855" y="172"/>
                      <a:pt x="855" y="172"/>
                    </a:cubicBezTo>
                    <a:cubicBezTo>
                      <a:pt x="855" y="783"/>
                      <a:pt x="855" y="783"/>
                      <a:pt x="855" y="783"/>
                    </a:cubicBezTo>
                    <a:cubicBezTo>
                      <a:pt x="573" y="666"/>
                      <a:pt x="573" y="666"/>
                      <a:pt x="573" y="666"/>
                    </a:cubicBezTo>
                    <a:cubicBezTo>
                      <a:pt x="573" y="665"/>
                      <a:pt x="572" y="665"/>
                      <a:pt x="572" y="665"/>
                    </a:cubicBezTo>
                    <a:cubicBezTo>
                      <a:pt x="572" y="665"/>
                      <a:pt x="572" y="665"/>
                      <a:pt x="572" y="665"/>
                    </a:cubicBezTo>
                    <a:cubicBezTo>
                      <a:pt x="572" y="666"/>
                      <a:pt x="288" y="784"/>
                      <a:pt x="288" y="784"/>
                    </a:cubicBezTo>
                    <a:cubicBezTo>
                      <a:pt x="288" y="2136"/>
                      <a:pt x="288" y="2136"/>
                      <a:pt x="288" y="2136"/>
                    </a:cubicBezTo>
                    <a:cubicBezTo>
                      <a:pt x="979" y="2136"/>
                      <a:pt x="979" y="2136"/>
                      <a:pt x="979" y="2136"/>
                    </a:cubicBezTo>
                    <a:lnTo>
                      <a:pt x="979" y="1999"/>
                    </a:lnTo>
                    <a:close/>
                    <a:moveTo>
                      <a:pt x="544" y="1963"/>
                    </a:moveTo>
                    <a:cubicBezTo>
                      <a:pt x="328" y="1974"/>
                      <a:pt x="328" y="1974"/>
                      <a:pt x="328" y="1974"/>
                    </a:cubicBezTo>
                    <a:cubicBezTo>
                      <a:pt x="328" y="1891"/>
                      <a:pt x="328" y="1891"/>
                      <a:pt x="328" y="1891"/>
                    </a:cubicBezTo>
                    <a:cubicBezTo>
                      <a:pt x="544" y="1880"/>
                      <a:pt x="544" y="1880"/>
                      <a:pt x="544" y="1880"/>
                    </a:cubicBezTo>
                    <a:lnTo>
                      <a:pt x="544" y="1963"/>
                    </a:lnTo>
                    <a:close/>
                    <a:moveTo>
                      <a:pt x="544" y="1803"/>
                    </a:moveTo>
                    <a:cubicBezTo>
                      <a:pt x="328" y="1821"/>
                      <a:pt x="328" y="1821"/>
                      <a:pt x="328" y="1821"/>
                    </a:cubicBezTo>
                    <a:cubicBezTo>
                      <a:pt x="328" y="1738"/>
                      <a:pt x="328" y="1738"/>
                      <a:pt x="328" y="1738"/>
                    </a:cubicBezTo>
                    <a:cubicBezTo>
                      <a:pt x="544" y="1718"/>
                      <a:pt x="544" y="1718"/>
                      <a:pt x="544" y="1718"/>
                    </a:cubicBezTo>
                    <a:lnTo>
                      <a:pt x="544" y="1803"/>
                    </a:lnTo>
                    <a:close/>
                    <a:moveTo>
                      <a:pt x="544" y="1643"/>
                    </a:moveTo>
                    <a:cubicBezTo>
                      <a:pt x="328" y="1668"/>
                      <a:pt x="328" y="1668"/>
                      <a:pt x="328" y="1668"/>
                    </a:cubicBezTo>
                    <a:cubicBezTo>
                      <a:pt x="328" y="1584"/>
                      <a:pt x="328" y="1584"/>
                      <a:pt x="328" y="1584"/>
                    </a:cubicBezTo>
                    <a:cubicBezTo>
                      <a:pt x="544" y="1556"/>
                      <a:pt x="544" y="1556"/>
                      <a:pt x="544" y="1556"/>
                    </a:cubicBezTo>
                    <a:lnTo>
                      <a:pt x="544" y="1643"/>
                    </a:lnTo>
                    <a:close/>
                    <a:moveTo>
                      <a:pt x="544" y="1482"/>
                    </a:moveTo>
                    <a:cubicBezTo>
                      <a:pt x="328" y="1514"/>
                      <a:pt x="328" y="1514"/>
                      <a:pt x="328" y="1514"/>
                    </a:cubicBezTo>
                    <a:cubicBezTo>
                      <a:pt x="328" y="1431"/>
                      <a:pt x="328" y="1431"/>
                      <a:pt x="328" y="1431"/>
                    </a:cubicBezTo>
                    <a:cubicBezTo>
                      <a:pt x="544" y="1393"/>
                      <a:pt x="544" y="1393"/>
                      <a:pt x="544" y="1393"/>
                    </a:cubicBezTo>
                    <a:lnTo>
                      <a:pt x="544" y="1482"/>
                    </a:lnTo>
                    <a:close/>
                    <a:moveTo>
                      <a:pt x="544" y="1322"/>
                    </a:moveTo>
                    <a:cubicBezTo>
                      <a:pt x="328" y="1361"/>
                      <a:pt x="328" y="1361"/>
                      <a:pt x="328" y="1361"/>
                    </a:cubicBezTo>
                    <a:cubicBezTo>
                      <a:pt x="328" y="1278"/>
                      <a:pt x="328" y="1278"/>
                      <a:pt x="328" y="1278"/>
                    </a:cubicBezTo>
                    <a:cubicBezTo>
                      <a:pt x="544" y="1231"/>
                      <a:pt x="544" y="1231"/>
                      <a:pt x="544" y="1231"/>
                    </a:cubicBezTo>
                    <a:lnTo>
                      <a:pt x="544" y="1322"/>
                    </a:lnTo>
                    <a:close/>
                    <a:moveTo>
                      <a:pt x="544" y="1162"/>
                    </a:moveTo>
                    <a:cubicBezTo>
                      <a:pt x="328" y="1208"/>
                      <a:pt x="328" y="1208"/>
                      <a:pt x="328" y="1208"/>
                    </a:cubicBezTo>
                    <a:cubicBezTo>
                      <a:pt x="328" y="1125"/>
                      <a:pt x="328" y="1125"/>
                      <a:pt x="328" y="1125"/>
                    </a:cubicBezTo>
                    <a:cubicBezTo>
                      <a:pt x="544" y="1069"/>
                      <a:pt x="544" y="1069"/>
                      <a:pt x="544" y="1069"/>
                    </a:cubicBezTo>
                    <a:lnTo>
                      <a:pt x="544" y="1162"/>
                    </a:lnTo>
                    <a:close/>
                    <a:moveTo>
                      <a:pt x="544" y="1001"/>
                    </a:moveTo>
                    <a:cubicBezTo>
                      <a:pt x="328" y="1055"/>
                      <a:pt x="328" y="1055"/>
                      <a:pt x="328" y="1055"/>
                    </a:cubicBezTo>
                    <a:cubicBezTo>
                      <a:pt x="328" y="971"/>
                      <a:pt x="328" y="971"/>
                      <a:pt x="328" y="971"/>
                    </a:cubicBezTo>
                    <a:cubicBezTo>
                      <a:pt x="544" y="907"/>
                      <a:pt x="544" y="907"/>
                      <a:pt x="544" y="907"/>
                    </a:cubicBezTo>
                    <a:lnTo>
                      <a:pt x="544" y="1001"/>
                    </a:lnTo>
                    <a:close/>
                    <a:moveTo>
                      <a:pt x="544" y="841"/>
                    </a:moveTo>
                    <a:cubicBezTo>
                      <a:pt x="328" y="902"/>
                      <a:pt x="328" y="902"/>
                      <a:pt x="328" y="902"/>
                    </a:cubicBezTo>
                    <a:cubicBezTo>
                      <a:pt x="328" y="818"/>
                      <a:pt x="328" y="818"/>
                      <a:pt x="328" y="818"/>
                    </a:cubicBezTo>
                    <a:cubicBezTo>
                      <a:pt x="544" y="745"/>
                      <a:pt x="544" y="745"/>
                      <a:pt x="544" y="745"/>
                    </a:cubicBezTo>
                    <a:lnTo>
                      <a:pt x="544" y="841"/>
                    </a:lnTo>
                    <a:close/>
                    <a:moveTo>
                      <a:pt x="907" y="286"/>
                    </a:moveTo>
                    <a:cubicBezTo>
                      <a:pt x="1199" y="187"/>
                      <a:pt x="1199" y="187"/>
                      <a:pt x="1199" y="187"/>
                    </a:cubicBezTo>
                    <a:cubicBezTo>
                      <a:pt x="1199" y="317"/>
                      <a:pt x="1199" y="317"/>
                      <a:pt x="1199" y="317"/>
                    </a:cubicBezTo>
                    <a:cubicBezTo>
                      <a:pt x="907" y="399"/>
                      <a:pt x="907" y="399"/>
                      <a:pt x="907" y="399"/>
                    </a:cubicBezTo>
                    <a:lnTo>
                      <a:pt x="907" y="286"/>
                    </a:lnTo>
                    <a:close/>
                    <a:moveTo>
                      <a:pt x="907" y="494"/>
                    </a:moveTo>
                    <a:cubicBezTo>
                      <a:pt x="1199" y="407"/>
                      <a:pt x="1199" y="407"/>
                      <a:pt x="1199" y="407"/>
                    </a:cubicBezTo>
                    <a:cubicBezTo>
                      <a:pt x="1199" y="534"/>
                      <a:pt x="1199" y="534"/>
                      <a:pt x="1199" y="534"/>
                    </a:cubicBezTo>
                    <a:cubicBezTo>
                      <a:pt x="907" y="607"/>
                      <a:pt x="907" y="607"/>
                      <a:pt x="907" y="607"/>
                    </a:cubicBezTo>
                    <a:lnTo>
                      <a:pt x="907" y="494"/>
                    </a:lnTo>
                    <a:close/>
                    <a:moveTo>
                      <a:pt x="907" y="701"/>
                    </a:moveTo>
                    <a:cubicBezTo>
                      <a:pt x="1199" y="626"/>
                      <a:pt x="1199" y="626"/>
                      <a:pt x="1199" y="626"/>
                    </a:cubicBezTo>
                    <a:cubicBezTo>
                      <a:pt x="1199" y="752"/>
                      <a:pt x="1199" y="752"/>
                      <a:pt x="1199" y="752"/>
                    </a:cubicBezTo>
                    <a:cubicBezTo>
                      <a:pt x="907" y="814"/>
                      <a:pt x="907" y="814"/>
                      <a:pt x="907" y="814"/>
                    </a:cubicBezTo>
                    <a:lnTo>
                      <a:pt x="907" y="701"/>
                    </a:lnTo>
                    <a:close/>
                    <a:moveTo>
                      <a:pt x="907" y="909"/>
                    </a:moveTo>
                    <a:cubicBezTo>
                      <a:pt x="1199" y="846"/>
                      <a:pt x="1199" y="846"/>
                      <a:pt x="1199" y="846"/>
                    </a:cubicBezTo>
                    <a:cubicBezTo>
                      <a:pt x="1199" y="969"/>
                      <a:pt x="1199" y="969"/>
                      <a:pt x="1199" y="969"/>
                    </a:cubicBezTo>
                    <a:cubicBezTo>
                      <a:pt x="907" y="1022"/>
                      <a:pt x="907" y="1022"/>
                      <a:pt x="907" y="1022"/>
                    </a:cubicBezTo>
                    <a:lnTo>
                      <a:pt x="907" y="909"/>
                    </a:lnTo>
                    <a:close/>
                    <a:moveTo>
                      <a:pt x="907" y="1117"/>
                    </a:moveTo>
                    <a:cubicBezTo>
                      <a:pt x="1199" y="1066"/>
                      <a:pt x="1199" y="1066"/>
                      <a:pt x="1199" y="1066"/>
                    </a:cubicBezTo>
                    <a:cubicBezTo>
                      <a:pt x="1199" y="1186"/>
                      <a:pt x="1199" y="1186"/>
                      <a:pt x="1199" y="1186"/>
                    </a:cubicBezTo>
                    <a:cubicBezTo>
                      <a:pt x="907" y="1230"/>
                      <a:pt x="907" y="1230"/>
                      <a:pt x="907" y="1230"/>
                    </a:cubicBezTo>
                    <a:lnTo>
                      <a:pt x="907" y="1117"/>
                    </a:lnTo>
                    <a:close/>
                    <a:moveTo>
                      <a:pt x="907" y="1324"/>
                    </a:moveTo>
                    <a:cubicBezTo>
                      <a:pt x="1199" y="1285"/>
                      <a:pt x="1199" y="1285"/>
                      <a:pt x="1199" y="1285"/>
                    </a:cubicBezTo>
                    <a:cubicBezTo>
                      <a:pt x="1199" y="1403"/>
                      <a:pt x="1199" y="1403"/>
                      <a:pt x="1199" y="1403"/>
                    </a:cubicBezTo>
                    <a:cubicBezTo>
                      <a:pt x="907" y="1437"/>
                      <a:pt x="907" y="1437"/>
                      <a:pt x="907" y="1437"/>
                    </a:cubicBezTo>
                    <a:lnTo>
                      <a:pt x="907" y="1324"/>
                    </a:lnTo>
                    <a:close/>
                    <a:moveTo>
                      <a:pt x="907" y="1532"/>
                    </a:moveTo>
                    <a:cubicBezTo>
                      <a:pt x="1199" y="1505"/>
                      <a:pt x="1199" y="1505"/>
                      <a:pt x="1199" y="1505"/>
                    </a:cubicBezTo>
                    <a:cubicBezTo>
                      <a:pt x="1199" y="1620"/>
                      <a:pt x="1199" y="1620"/>
                      <a:pt x="1199" y="1620"/>
                    </a:cubicBezTo>
                    <a:cubicBezTo>
                      <a:pt x="907" y="1645"/>
                      <a:pt x="907" y="1645"/>
                      <a:pt x="907" y="1645"/>
                    </a:cubicBezTo>
                    <a:lnTo>
                      <a:pt x="907" y="1532"/>
                    </a:lnTo>
                    <a:close/>
                    <a:moveTo>
                      <a:pt x="907" y="1740"/>
                    </a:moveTo>
                    <a:cubicBezTo>
                      <a:pt x="1199" y="1725"/>
                      <a:pt x="1199" y="1725"/>
                      <a:pt x="1199" y="1725"/>
                    </a:cubicBezTo>
                    <a:cubicBezTo>
                      <a:pt x="1199" y="1838"/>
                      <a:pt x="1199" y="1838"/>
                      <a:pt x="1199" y="1838"/>
                    </a:cubicBezTo>
                    <a:cubicBezTo>
                      <a:pt x="907" y="1853"/>
                      <a:pt x="907" y="1853"/>
                      <a:pt x="907" y="1853"/>
                    </a:cubicBezTo>
                    <a:lnTo>
                      <a:pt x="907" y="1740"/>
                    </a:lnTo>
                    <a:close/>
                    <a:moveTo>
                      <a:pt x="2387" y="2214"/>
                    </a:moveTo>
                    <a:cubicBezTo>
                      <a:pt x="81" y="2214"/>
                      <a:pt x="81" y="2214"/>
                      <a:pt x="81" y="2214"/>
                    </a:cubicBezTo>
                    <a:cubicBezTo>
                      <a:pt x="36" y="2214"/>
                      <a:pt x="0" y="2251"/>
                      <a:pt x="0" y="2295"/>
                    </a:cubicBezTo>
                    <a:cubicBezTo>
                      <a:pt x="0" y="2340"/>
                      <a:pt x="36" y="2376"/>
                      <a:pt x="81" y="2376"/>
                    </a:cubicBezTo>
                    <a:cubicBezTo>
                      <a:pt x="2387" y="2376"/>
                      <a:pt x="2387" y="2376"/>
                      <a:pt x="2387" y="2376"/>
                    </a:cubicBezTo>
                    <a:cubicBezTo>
                      <a:pt x="2432" y="2376"/>
                      <a:pt x="2468" y="2340"/>
                      <a:pt x="2468" y="2295"/>
                    </a:cubicBezTo>
                    <a:cubicBezTo>
                      <a:pt x="2468" y="2251"/>
                      <a:pt x="2432" y="2214"/>
                      <a:pt x="2387" y="2214"/>
                    </a:cubicBezTo>
                    <a:close/>
                  </a:path>
                </a:pathLst>
              </a:custGeom>
              <a:solidFill>
                <a:schemeClr val="bg1"/>
              </a:solidFill>
              <a:ln>
                <a:noFill/>
              </a:ln>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grpSp>
        <p:sp>
          <p:nvSpPr>
            <p:cNvPr id="149" name="TextBox 148"/>
            <p:cNvSpPr txBox="1"/>
            <p:nvPr/>
          </p:nvSpPr>
          <p:spPr>
            <a:xfrm>
              <a:off x="5382640" y="3494416"/>
              <a:ext cx="601127" cy="230832"/>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spcAft>
                  <a:spcPts val="450"/>
                </a:spcAft>
                <a:buClr>
                  <a:srgbClr val="FFFFFF"/>
                </a:buClr>
              </a:pPr>
              <a:r>
                <a:rPr lang="es-CO" sz="1500" dirty="0">
                  <a:solidFill>
                    <a:srgbClr val="000000"/>
                  </a:solidFill>
                  <a:latin typeface="Arial"/>
                </a:rPr>
                <a:t>Diseño</a:t>
              </a:r>
            </a:p>
          </p:txBody>
        </p:sp>
      </p:grpSp>
      <p:grpSp>
        <p:nvGrpSpPr>
          <p:cNvPr id="13" name="Group 12">
            <a:extLst>
              <a:ext uri="{FF2B5EF4-FFF2-40B4-BE49-F238E27FC236}">
                <a16:creationId xmlns:a16="http://schemas.microsoft.com/office/drawing/2014/main" id="{8C269D0C-8F88-430C-A4D3-E02AAE6046CE}"/>
              </a:ext>
            </a:extLst>
          </p:cNvPr>
          <p:cNvGrpSpPr/>
          <p:nvPr/>
        </p:nvGrpSpPr>
        <p:grpSpPr>
          <a:xfrm>
            <a:off x="4825178" y="2568975"/>
            <a:ext cx="1606318" cy="387915"/>
            <a:chOff x="4914453" y="2947548"/>
            <a:chExt cx="1606318" cy="387915"/>
          </a:xfrm>
        </p:grpSpPr>
        <p:grpSp>
          <p:nvGrpSpPr>
            <p:cNvPr id="150" name="Group 149"/>
            <p:cNvGrpSpPr/>
            <p:nvPr/>
          </p:nvGrpSpPr>
          <p:grpSpPr>
            <a:xfrm>
              <a:off x="4914453" y="2947548"/>
              <a:ext cx="387914" cy="387915"/>
              <a:chOff x="2843133" y="2686312"/>
              <a:chExt cx="474890" cy="474890"/>
            </a:xfrm>
          </p:grpSpPr>
          <p:sp>
            <p:nvSpPr>
              <p:cNvPr id="151" name="Oval 10"/>
              <p:cNvSpPr>
                <a:spLocks noChangeArrowheads="1"/>
              </p:cNvSpPr>
              <p:nvPr>
                <p:custDataLst>
                  <p:tags r:id="rId22"/>
                </p:custDataLst>
              </p:nvPr>
            </p:nvSpPr>
            <p:spPr bwMode="auto">
              <a:xfrm>
                <a:off x="2843133" y="2686312"/>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FFFFFF"/>
                  </a:solidFill>
                  <a:latin typeface="Arial"/>
                </a:endParaRPr>
              </a:p>
            </p:txBody>
          </p:sp>
          <p:grpSp>
            <p:nvGrpSpPr>
              <p:cNvPr id="152" name="Group 151"/>
              <p:cNvGrpSpPr/>
              <p:nvPr/>
            </p:nvGrpSpPr>
            <p:grpSpPr>
              <a:xfrm>
                <a:off x="2926787" y="2748563"/>
                <a:ext cx="304914" cy="350388"/>
                <a:chOff x="2961598" y="2788566"/>
                <a:chExt cx="235291" cy="270382"/>
              </a:xfrm>
            </p:grpSpPr>
            <p:sp>
              <p:nvSpPr>
                <p:cNvPr id="153" name="Freeform 87"/>
                <p:cNvSpPr>
                  <a:spLocks/>
                </p:cNvSpPr>
                <p:nvPr/>
              </p:nvSpPr>
              <p:spPr bwMode="auto">
                <a:xfrm>
                  <a:off x="2961598" y="2867768"/>
                  <a:ext cx="72714" cy="43698"/>
                </a:xfrm>
                <a:custGeom>
                  <a:avLst/>
                  <a:gdLst>
                    <a:gd name="T0" fmla="*/ 157 w 157"/>
                    <a:gd name="T1" fmla="*/ 82 h 94"/>
                    <a:gd name="T2" fmla="*/ 103 w 157"/>
                    <a:gd name="T3" fmla="*/ 0 h 94"/>
                    <a:gd name="T4" fmla="*/ 79 w 157"/>
                    <a:gd name="T5" fmla="*/ 44 h 94"/>
                    <a:gd name="T6" fmla="*/ 54 w 157"/>
                    <a:gd name="T7" fmla="*/ 0 h 94"/>
                    <a:gd name="T8" fmla="*/ 0 w 157"/>
                    <a:gd name="T9" fmla="*/ 83 h 94"/>
                    <a:gd name="T10" fmla="*/ 78 w 157"/>
                    <a:gd name="T11" fmla="*/ 94 h 94"/>
                    <a:gd name="T12" fmla="*/ 157 w 157"/>
                    <a:gd name="T13" fmla="*/ 82 h 94"/>
                  </a:gdLst>
                  <a:ahLst/>
                  <a:cxnLst>
                    <a:cxn ang="0">
                      <a:pos x="T0" y="T1"/>
                    </a:cxn>
                    <a:cxn ang="0">
                      <a:pos x="T2" y="T3"/>
                    </a:cxn>
                    <a:cxn ang="0">
                      <a:pos x="T4" y="T5"/>
                    </a:cxn>
                    <a:cxn ang="0">
                      <a:pos x="T6" y="T7"/>
                    </a:cxn>
                    <a:cxn ang="0">
                      <a:pos x="T8" y="T9"/>
                    </a:cxn>
                    <a:cxn ang="0">
                      <a:pos x="T10" y="T11"/>
                    </a:cxn>
                    <a:cxn ang="0">
                      <a:pos x="T12" y="T13"/>
                    </a:cxn>
                  </a:cxnLst>
                  <a:rect l="0" t="0" r="r" b="b"/>
                  <a:pathLst>
                    <a:path w="157" h="94">
                      <a:moveTo>
                        <a:pt x="157" y="82"/>
                      </a:moveTo>
                      <a:cubicBezTo>
                        <a:pt x="150" y="23"/>
                        <a:pt x="129" y="0"/>
                        <a:pt x="103" y="0"/>
                      </a:cubicBezTo>
                      <a:cubicBezTo>
                        <a:pt x="103" y="0"/>
                        <a:pt x="87" y="10"/>
                        <a:pt x="79" y="44"/>
                      </a:cubicBezTo>
                      <a:cubicBezTo>
                        <a:pt x="70" y="10"/>
                        <a:pt x="54" y="0"/>
                        <a:pt x="54" y="0"/>
                      </a:cubicBezTo>
                      <a:cubicBezTo>
                        <a:pt x="28" y="0"/>
                        <a:pt x="7" y="24"/>
                        <a:pt x="0" y="83"/>
                      </a:cubicBezTo>
                      <a:cubicBezTo>
                        <a:pt x="5" y="85"/>
                        <a:pt x="40" y="94"/>
                        <a:pt x="78" y="94"/>
                      </a:cubicBezTo>
                      <a:cubicBezTo>
                        <a:pt x="117" y="94"/>
                        <a:pt x="153" y="83"/>
                        <a:pt x="157" y="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54" name="Oval 88"/>
                <p:cNvSpPr>
                  <a:spLocks noChangeArrowheads="1"/>
                </p:cNvSpPr>
                <p:nvPr/>
              </p:nvSpPr>
              <p:spPr bwMode="auto">
                <a:xfrm>
                  <a:off x="2983549" y="2833630"/>
                  <a:ext cx="28125" cy="34822"/>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55" name="Oval 89"/>
                <p:cNvSpPr>
                  <a:spLocks noChangeArrowheads="1"/>
                </p:cNvSpPr>
                <p:nvPr/>
              </p:nvSpPr>
              <p:spPr bwMode="auto">
                <a:xfrm>
                  <a:off x="3146813" y="2833630"/>
                  <a:ext cx="27440" cy="34822"/>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56" name="Freeform 90"/>
                <p:cNvSpPr>
                  <a:spLocks/>
                </p:cNvSpPr>
                <p:nvPr/>
              </p:nvSpPr>
              <p:spPr bwMode="auto">
                <a:xfrm>
                  <a:off x="3124175" y="2867768"/>
                  <a:ext cx="72714" cy="43698"/>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Lst>
                  <a:ahLst/>
                  <a:cxnLst>
                    <a:cxn ang="0">
                      <a:pos x="T0" y="T1"/>
                    </a:cxn>
                    <a:cxn ang="0">
                      <a:pos x="T2" y="T3"/>
                    </a:cxn>
                    <a:cxn ang="0">
                      <a:pos x="T4" y="T5"/>
                    </a:cxn>
                    <a:cxn ang="0">
                      <a:pos x="T6" y="T7"/>
                    </a:cxn>
                    <a:cxn ang="0">
                      <a:pos x="T8" y="T9"/>
                    </a:cxn>
                    <a:cxn ang="0">
                      <a:pos x="T10" y="T11"/>
                    </a:cxn>
                    <a:cxn ang="0">
                      <a:pos x="T12" y="T13"/>
                    </a:cxn>
                  </a:cxnLst>
                  <a:rect l="0" t="0" r="r" b="b"/>
                  <a:pathLst>
                    <a:path w="157" h="94">
                      <a:moveTo>
                        <a:pt x="157" y="82"/>
                      </a:moveTo>
                      <a:cubicBezTo>
                        <a:pt x="150" y="23"/>
                        <a:pt x="129" y="0"/>
                        <a:pt x="103" y="0"/>
                      </a:cubicBezTo>
                      <a:cubicBezTo>
                        <a:pt x="103" y="0"/>
                        <a:pt x="87" y="10"/>
                        <a:pt x="78" y="44"/>
                      </a:cubicBezTo>
                      <a:cubicBezTo>
                        <a:pt x="70" y="10"/>
                        <a:pt x="54" y="0"/>
                        <a:pt x="54" y="0"/>
                      </a:cubicBezTo>
                      <a:cubicBezTo>
                        <a:pt x="28" y="0"/>
                        <a:pt x="7" y="24"/>
                        <a:pt x="0" y="83"/>
                      </a:cubicBezTo>
                      <a:cubicBezTo>
                        <a:pt x="5" y="85"/>
                        <a:pt x="40" y="94"/>
                        <a:pt x="78" y="94"/>
                      </a:cubicBezTo>
                      <a:cubicBezTo>
                        <a:pt x="117" y="94"/>
                        <a:pt x="152" y="83"/>
                        <a:pt x="157" y="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57" name="Oval 91"/>
                <p:cNvSpPr>
                  <a:spLocks noChangeArrowheads="1"/>
                </p:cNvSpPr>
                <p:nvPr/>
              </p:nvSpPr>
              <p:spPr bwMode="auto">
                <a:xfrm>
                  <a:off x="3065180" y="2788566"/>
                  <a:ext cx="28125" cy="34822"/>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58" name="Freeform 92"/>
                <p:cNvSpPr>
                  <a:spLocks/>
                </p:cNvSpPr>
                <p:nvPr/>
              </p:nvSpPr>
              <p:spPr bwMode="auto">
                <a:xfrm>
                  <a:off x="3042544" y="2822021"/>
                  <a:ext cx="73399" cy="43698"/>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Lst>
                  <a:ahLst/>
                  <a:cxnLst>
                    <a:cxn ang="0">
                      <a:pos x="T0" y="T1"/>
                    </a:cxn>
                    <a:cxn ang="0">
                      <a:pos x="T2" y="T3"/>
                    </a:cxn>
                    <a:cxn ang="0">
                      <a:pos x="T4" y="T5"/>
                    </a:cxn>
                    <a:cxn ang="0">
                      <a:pos x="T6" y="T7"/>
                    </a:cxn>
                    <a:cxn ang="0">
                      <a:pos x="T8" y="T9"/>
                    </a:cxn>
                    <a:cxn ang="0">
                      <a:pos x="T10" y="T11"/>
                    </a:cxn>
                    <a:cxn ang="0">
                      <a:pos x="T12" y="T13"/>
                    </a:cxn>
                  </a:cxnLst>
                  <a:rect l="0" t="0" r="r" b="b"/>
                  <a:pathLst>
                    <a:path w="157" h="94">
                      <a:moveTo>
                        <a:pt x="157" y="82"/>
                      </a:moveTo>
                      <a:cubicBezTo>
                        <a:pt x="150" y="23"/>
                        <a:pt x="129" y="0"/>
                        <a:pt x="103" y="0"/>
                      </a:cubicBezTo>
                      <a:cubicBezTo>
                        <a:pt x="103" y="0"/>
                        <a:pt x="87" y="10"/>
                        <a:pt x="78" y="44"/>
                      </a:cubicBezTo>
                      <a:cubicBezTo>
                        <a:pt x="70" y="10"/>
                        <a:pt x="54" y="0"/>
                        <a:pt x="54" y="0"/>
                      </a:cubicBezTo>
                      <a:cubicBezTo>
                        <a:pt x="28" y="0"/>
                        <a:pt x="7" y="24"/>
                        <a:pt x="0" y="83"/>
                      </a:cubicBezTo>
                      <a:cubicBezTo>
                        <a:pt x="5" y="85"/>
                        <a:pt x="40" y="94"/>
                        <a:pt x="78" y="94"/>
                      </a:cubicBezTo>
                      <a:cubicBezTo>
                        <a:pt x="117" y="94"/>
                        <a:pt x="152" y="83"/>
                        <a:pt x="157" y="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59" name="Freeform 93"/>
                <p:cNvSpPr>
                  <a:spLocks/>
                </p:cNvSpPr>
                <p:nvPr/>
              </p:nvSpPr>
              <p:spPr bwMode="auto">
                <a:xfrm>
                  <a:off x="2961598" y="2972235"/>
                  <a:ext cx="72714" cy="43698"/>
                </a:xfrm>
                <a:custGeom>
                  <a:avLst/>
                  <a:gdLst>
                    <a:gd name="T0" fmla="*/ 103 w 157"/>
                    <a:gd name="T1" fmla="*/ 0 h 95"/>
                    <a:gd name="T2" fmla="*/ 79 w 157"/>
                    <a:gd name="T3" fmla="*/ 45 h 95"/>
                    <a:gd name="T4" fmla="*/ 54 w 157"/>
                    <a:gd name="T5" fmla="*/ 0 h 95"/>
                    <a:gd name="T6" fmla="*/ 0 w 157"/>
                    <a:gd name="T7" fmla="*/ 84 h 95"/>
                    <a:gd name="T8" fmla="*/ 78 w 157"/>
                    <a:gd name="T9" fmla="*/ 95 h 95"/>
                    <a:gd name="T10" fmla="*/ 157 w 157"/>
                    <a:gd name="T11" fmla="*/ 82 h 95"/>
                    <a:gd name="T12" fmla="*/ 103 w 157"/>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57" h="95">
                      <a:moveTo>
                        <a:pt x="103" y="0"/>
                      </a:moveTo>
                      <a:cubicBezTo>
                        <a:pt x="103" y="0"/>
                        <a:pt x="87" y="10"/>
                        <a:pt x="79" y="45"/>
                      </a:cubicBezTo>
                      <a:cubicBezTo>
                        <a:pt x="70" y="10"/>
                        <a:pt x="54" y="0"/>
                        <a:pt x="54" y="0"/>
                      </a:cubicBezTo>
                      <a:cubicBezTo>
                        <a:pt x="28" y="0"/>
                        <a:pt x="7" y="24"/>
                        <a:pt x="0" y="84"/>
                      </a:cubicBezTo>
                      <a:cubicBezTo>
                        <a:pt x="5" y="85"/>
                        <a:pt x="40" y="95"/>
                        <a:pt x="78" y="95"/>
                      </a:cubicBezTo>
                      <a:cubicBezTo>
                        <a:pt x="117" y="95"/>
                        <a:pt x="153" y="83"/>
                        <a:pt x="157" y="82"/>
                      </a:cubicBezTo>
                      <a:cubicBezTo>
                        <a:pt x="150" y="24"/>
                        <a:pt x="129" y="0"/>
                        <a:pt x="103"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0" name="Oval 94"/>
                <p:cNvSpPr>
                  <a:spLocks noChangeArrowheads="1"/>
                </p:cNvSpPr>
                <p:nvPr/>
              </p:nvSpPr>
              <p:spPr bwMode="auto">
                <a:xfrm>
                  <a:off x="2983549" y="2938779"/>
                  <a:ext cx="28125" cy="3414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1" name="Freeform 95"/>
                <p:cNvSpPr>
                  <a:spLocks/>
                </p:cNvSpPr>
                <p:nvPr/>
              </p:nvSpPr>
              <p:spPr bwMode="auto">
                <a:xfrm>
                  <a:off x="3124175" y="2972235"/>
                  <a:ext cx="72714" cy="43698"/>
                </a:xfrm>
                <a:custGeom>
                  <a:avLst/>
                  <a:gdLst>
                    <a:gd name="T0" fmla="*/ 103 w 157"/>
                    <a:gd name="T1" fmla="*/ 0 h 95"/>
                    <a:gd name="T2" fmla="*/ 78 w 157"/>
                    <a:gd name="T3" fmla="*/ 45 h 95"/>
                    <a:gd name="T4" fmla="*/ 54 w 157"/>
                    <a:gd name="T5" fmla="*/ 0 h 95"/>
                    <a:gd name="T6" fmla="*/ 0 w 157"/>
                    <a:gd name="T7" fmla="*/ 84 h 95"/>
                    <a:gd name="T8" fmla="*/ 78 w 157"/>
                    <a:gd name="T9" fmla="*/ 95 h 95"/>
                    <a:gd name="T10" fmla="*/ 157 w 157"/>
                    <a:gd name="T11" fmla="*/ 82 h 95"/>
                    <a:gd name="T12" fmla="*/ 103 w 157"/>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57" h="95">
                      <a:moveTo>
                        <a:pt x="103" y="0"/>
                      </a:moveTo>
                      <a:cubicBezTo>
                        <a:pt x="103" y="0"/>
                        <a:pt x="87" y="10"/>
                        <a:pt x="78" y="45"/>
                      </a:cubicBezTo>
                      <a:cubicBezTo>
                        <a:pt x="70" y="10"/>
                        <a:pt x="54" y="0"/>
                        <a:pt x="54" y="0"/>
                      </a:cubicBezTo>
                      <a:cubicBezTo>
                        <a:pt x="28" y="0"/>
                        <a:pt x="7" y="24"/>
                        <a:pt x="0" y="84"/>
                      </a:cubicBezTo>
                      <a:cubicBezTo>
                        <a:pt x="5" y="85"/>
                        <a:pt x="40" y="95"/>
                        <a:pt x="78" y="95"/>
                      </a:cubicBezTo>
                      <a:cubicBezTo>
                        <a:pt x="117" y="95"/>
                        <a:pt x="152" y="83"/>
                        <a:pt x="157" y="82"/>
                      </a:cubicBezTo>
                      <a:cubicBezTo>
                        <a:pt x="150" y="24"/>
                        <a:pt x="129" y="0"/>
                        <a:pt x="103"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2" name="Oval 96"/>
                <p:cNvSpPr>
                  <a:spLocks noChangeArrowheads="1"/>
                </p:cNvSpPr>
                <p:nvPr/>
              </p:nvSpPr>
              <p:spPr bwMode="auto">
                <a:xfrm>
                  <a:off x="3146813" y="2938779"/>
                  <a:ext cx="27440" cy="3414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3" name="Freeform 97"/>
                <p:cNvSpPr>
                  <a:spLocks/>
                </p:cNvSpPr>
                <p:nvPr/>
              </p:nvSpPr>
              <p:spPr bwMode="auto">
                <a:xfrm>
                  <a:off x="3042544" y="3014567"/>
                  <a:ext cx="73399" cy="44381"/>
                </a:xfrm>
                <a:custGeom>
                  <a:avLst/>
                  <a:gdLst>
                    <a:gd name="T0" fmla="*/ 103 w 157"/>
                    <a:gd name="T1" fmla="*/ 0 h 95"/>
                    <a:gd name="T2" fmla="*/ 78 w 157"/>
                    <a:gd name="T3" fmla="*/ 45 h 95"/>
                    <a:gd name="T4" fmla="*/ 54 w 157"/>
                    <a:gd name="T5" fmla="*/ 0 h 95"/>
                    <a:gd name="T6" fmla="*/ 0 w 157"/>
                    <a:gd name="T7" fmla="*/ 84 h 95"/>
                    <a:gd name="T8" fmla="*/ 78 w 157"/>
                    <a:gd name="T9" fmla="*/ 95 h 95"/>
                    <a:gd name="T10" fmla="*/ 157 w 157"/>
                    <a:gd name="T11" fmla="*/ 82 h 95"/>
                    <a:gd name="T12" fmla="*/ 103 w 157"/>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157" h="95">
                      <a:moveTo>
                        <a:pt x="103" y="0"/>
                      </a:moveTo>
                      <a:cubicBezTo>
                        <a:pt x="103" y="0"/>
                        <a:pt x="87" y="11"/>
                        <a:pt x="78" y="45"/>
                      </a:cubicBezTo>
                      <a:cubicBezTo>
                        <a:pt x="70" y="11"/>
                        <a:pt x="54" y="0"/>
                        <a:pt x="54" y="0"/>
                      </a:cubicBezTo>
                      <a:cubicBezTo>
                        <a:pt x="28" y="0"/>
                        <a:pt x="7" y="24"/>
                        <a:pt x="0" y="84"/>
                      </a:cubicBezTo>
                      <a:cubicBezTo>
                        <a:pt x="5" y="86"/>
                        <a:pt x="40" y="95"/>
                        <a:pt x="78" y="95"/>
                      </a:cubicBezTo>
                      <a:cubicBezTo>
                        <a:pt x="117" y="95"/>
                        <a:pt x="152" y="84"/>
                        <a:pt x="157" y="82"/>
                      </a:cubicBezTo>
                      <a:cubicBezTo>
                        <a:pt x="150" y="24"/>
                        <a:pt x="129" y="0"/>
                        <a:pt x="103" y="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4" name="Oval 98"/>
                <p:cNvSpPr>
                  <a:spLocks noChangeArrowheads="1"/>
                </p:cNvSpPr>
                <p:nvPr/>
              </p:nvSpPr>
              <p:spPr bwMode="auto">
                <a:xfrm>
                  <a:off x="3065180" y="2981794"/>
                  <a:ext cx="28125" cy="34140"/>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5" name="Oval 99"/>
                <p:cNvSpPr>
                  <a:spLocks noChangeArrowheads="1"/>
                </p:cNvSpPr>
                <p:nvPr/>
              </p:nvSpPr>
              <p:spPr bwMode="auto">
                <a:xfrm>
                  <a:off x="3070669" y="2918296"/>
                  <a:ext cx="16463" cy="17069"/>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sp>
              <p:nvSpPr>
                <p:cNvPr id="166" name="Freeform 100"/>
                <p:cNvSpPr>
                  <a:spLocks noEditPoints="1"/>
                </p:cNvSpPr>
                <p:nvPr/>
              </p:nvSpPr>
              <p:spPr bwMode="auto">
                <a:xfrm>
                  <a:off x="3016477" y="2871183"/>
                  <a:ext cx="125534" cy="110611"/>
                </a:xfrm>
                <a:custGeom>
                  <a:avLst/>
                  <a:gdLst>
                    <a:gd name="T0" fmla="*/ 257 w 269"/>
                    <a:gd name="T1" fmla="*/ 108 h 238"/>
                    <a:gd name="T2" fmla="*/ 194 w 269"/>
                    <a:gd name="T3" fmla="*/ 108 h 238"/>
                    <a:gd name="T4" fmla="*/ 175 w 269"/>
                    <a:gd name="T5" fmla="*/ 74 h 238"/>
                    <a:gd name="T6" fmla="*/ 206 w 269"/>
                    <a:gd name="T7" fmla="*/ 20 h 238"/>
                    <a:gd name="T8" fmla="*/ 202 w 269"/>
                    <a:gd name="T9" fmla="*/ 4 h 238"/>
                    <a:gd name="T10" fmla="*/ 185 w 269"/>
                    <a:gd name="T11" fmla="*/ 8 h 238"/>
                    <a:gd name="T12" fmla="*/ 154 w 269"/>
                    <a:gd name="T13" fmla="*/ 62 h 238"/>
                    <a:gd name="T14" fmla="*/ 134 w 269"/>
                    <a:gd name="T15" fmla="*/ 59 h 238"/>
                    <a:gd name="T16" fmla="*/ 115 w 269"/>
                    <a:gd name="T17" fmla="*/ 62 h 238"/>
                    <a:gd name="T18" fmla="*/ 84 w 269"/>
                    <a:gd name="T19" fmla="*/ 8 h 238"/>
                    <a:gd name="T20" fmla="*/ 67 w 269"/>
                    <a:gd name="T21" fmla="*/ 4 h 238"/>
                    <a:gd name="T22" fmla="*/ 63 w 269"/>
                    <a:gd name="T23" fmla="*/ 20 h 238"/>
                    <a:gd name="T24" fmla="*/ 94 w 269"/>
                    <a:gd name="T25" fmla="*/ 74 h 238"/>
                    <a:gd name="T26" fmla="*/ 75 w 269"/>
                    <a:gd name="T27" fmla="*/ 108 h 238"/>
                    <a:gd name="T28" fmla="*/ 12 w 269"/>
                    <a:gd name="T29" fmla="*/ 108 h 238"/>
                    <a:gd name="T30" fmla="*/ 0 w 269"/>
                    <a:gd name="T31" fmla="*/ 120 h 238"/>
                    <a:gd name="T32" fmla="*/ 12 w 269"/>
                    <a:gd name="T33" fmla="*/ 132 h 238"/>
                    <a:gd name="T34" fmla="*/ 75 w 269"/>
                    <a:gd name="T35" fmla="*/ 132 h 238"/>
                    <a:gd name="T36" fmla="*/ 94 w 269"/>
                    <a:gd name="T37" fmla="*/ 166 h 238"/>
                    <a:gd name="T38" fmla="*/ 63 w 269"/>
                    <a:gd name="T39" fmla="*/ 220 h 238"/>
                    <a:gd name="T40" fmla="*/ 67 w 269"/>
                    <a:gd name="T41" fmla="*/ 236 h 238"/>
                    <a:gd name="T42" fmla="*/ 73 w 269"/>
                    <a:gd name="T43" fmla="*/ 238 h 238"/>
                    <a:gd name="T44" fmla="*/ 84 w 269"/>
                    <a:gd name="T45" fmla="*/ 232 h 238"/>
                    <a:gd name="T46" fmla="*/ 115 w 269"/>
                    <a:gd name="T47" fmla="*/ 178 h 238"/>
                    <a:gd name="T48" fmla="*/ 134 w 269"/>
                    <a:gd name="T49" fmla="*/ 181 h 238"/>
                    <a:gd name="T50" fmla="*/ 154 w 269"/>
                    <a:gd name="T51" fmla="*/ 178 h 238"/>
                    <a:gd name="T52" fmla="*/ 185 w 269"/>
                    <a:gd name="T53" fmla="*/ 232 h 238"/>
                    <a:gd name="T54" fmla="*/ 196 w 269"/>
                    <a:gd name="T55" fmla="*/ 238 h 238"/>
                    <a:gd name="T56" fmla="*/ 202 w 269"/>
                    <a:gd name="T57" fmla="*/ 236 h 238"/>
                    <a:gd name="T58" fmla="*/ 206 w 269"/>
                    <a:gd name="T59" fmla="*/ 220 h 238"/>
                    <a:gd name="T60" fmla="*/ 175 w 269"/>
                    <a:gd name="T61" fmla="*/ 166 h 238"/>
                    <a:gd name="T62" fmla="*/ 194 w 269"/>
                    <a:gd name="T63" fmla="*/ 132 h 238"/>
                    <a:gd name="T64" fmla="*/ 257 w 269"/>
                    <a:gd name="T65" fmla="*/ 132 h 238"/>
                    <a:gd name="T66" fmla="*/ 269 w 269"/>
                    <a:gd name="T67" fmla="*/ 120 h 238"/>
                    <a:gd name="T68" fmla="*/ 257 w 269"/>
                    <a:gd name="T69" fmla="*/ 108 h 238"/>
                    <a:gd name="T70" fmla="*/ 98 w 269"/>
                    <a:gd name="T71" fmla="*/ 120 h 238"/>
                    <a:gd name="T72" fmla="*/ 134 w 269"/>
                    <a:gd name="T73" fmla="*/ 83 h 238"/>
                    <a:gd name="T74" fmla="*/ 171 w 269"/>
                    <a:gd name="T75" fmla="*/ 120 h 238"/>
                    <a:gd name="T76" fmla="*/ 134 w 269"/>
                    <a:gd name="T77" fmla="*/ 157 h 238"/>
                    <a:gd name="T78" fmla="*/ 98 w 269"/>
                    <a:gd name="T79" fmla="*/ 12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9" h="238">
                      <a:moveTo>
                        <a:pt x="257" y="108"/>
                      </a:moveTo>
                      <a:cubicBezTo>
                        <a:pt x="194" y="108"/>
                        <a:pt x="194" y="108"/>
                        <a:pt x="194" y="108"/>
                      </a:cubicBezTo>
                      <a:cubicBezTo>
                        <a:pt x="192" y="95"/>
                        <a:pt x="184" y="83"/>
                        <a:pt x="175" y="74"/>
                      </a:cubicBezTo>
                      <a:cubicBezTo>
                        <a:pt x="206" y="20"/>
                        <a:pt x="206" y="20"/>
                        <a:pt x="206" y="20"/>
                      </a:cubicBezTo>
                      <a:cubicBezTo>
                        <a:pt x="209" y="14"/>
                        <a:pt x="207" y="7"/>
                        <a:pt x="202" y="4"/>
                      </a:cubicBezTo>
                      <a:cubicBezTo>
                        <a:pt x="196" y="0"/>
                        <a:pt x="188" y="2"/>
                        <a:pt x="185" y="8"/>
                      </a:cubicBezTo>
                      <a:cubicBezTo>
                        <a:pt x="154" y="62"/>
                        <a:pt x="154" y="62"/>
                        <a:pt x="154" y="62"/>
                      </a:cubicBezTo>
                      <a:cubicBezTo>
                        <a:pt x="148" y="60"/>
                        <a:pt x="141" y="59"/>
                        <a:pt x="134" y="59"/>
                      </a:cubicBezTo>
                      <a:cubicBezTo>
                        <a:pt x="128" y="59"/>
                        <a:pt x="121" y="60"/>
                        <a:pt x="115" y="62"/>
                      </a:cubicBezTo>
                      <a:cubicBezTo>
                        <a:pt x="84" y="8"/>
                        <a:pt x="84" y="8"/>
                        <a:pt x="84" y="8"/>
                      </a:cubicBezTo>
                      <a:cubicBezTo>
                        <a:pt x="80" y="2"/>
                        <a:pt x="73" y="0"/>
                        <a:pt x="67" y="4"/>
                      </a:cubicBezTo>
                      <a:cubicBezTo>
                        <a:pt x="61" y="7"/>
                        <a:pt x="59" y="14"/>
                        <a:pt x="63" y="20"/>
                      </a:cubicBezTo>
                      <a:cubicBezTo>
                        <a:pt x="94" y="74"/>
                        <a:pt x="94" y="74"/>
                        <a:pt x="94" y="74"/>
                      </a:cubicBezTo>
                      <a:cubicBezTo>
                        <a:pt x="84" y="83"/>
                        <a:pt x="77" y="95"/>
                        <a:pt x="75" y="108"/>
                      </a:cubicBezTo>
                      <a:cubicBezTo>
                        <a:pt x="12" y="108"/>
                        <a:pt x="12" y="108"/>
                        <a:pt x="12" y="108"/>
                      </a:cubicBezTo>
                      <a:cubicBezTo>
                        <a:pt x="5" y="108"/>
                        <a:pt x="0" y="113"/>
                        <a:pt x="0" y="120"/>
                      </a:cubicBezTo>
                      <a:cubicBezTo>
                        <a:pt x="0" y="127"/>
                        <a:pt x="5" y="132"/>
                        <a:pt x="12" y="132"/>
                      </a:cubicBezTo>
                      <a:cubicBezTo>
                        <a:pt x="75" y="132"/>
                        <a:pt x="75" y="132"/>
                        <a:pt x="75" y="132"/>
                      </a:cubicBezTo>
                      <a:cubicBezTo>
                        <a:pt x="77" y="145"/>
                        <a:pt x="84" y="157"/>
                        <a:pt x="94" y="166"/>
                      </a:cubicBezTo>
                      <a:cubicBezTo>
                        <a:pt x="63" y="220"/>
                        <a:pt x="63" y="220"/>
                        <a:pt x="63" y="220"/>
                      </a:cubicBezTo>
                      <a:cubicBezTo>
                        <a:pt x="59" y="226"/>
                        <a:pt x="61" y="233"/>
                        <a:pt x="67" y="236"/>
                      </a:cubicBezTo>
                      <a:cubicBezTo>
                        <a:pt x="69" y="238"/>
                        <a:pt x="71" y="238"/>
                        <a:pt x="73" y="238"/>
                      </a:cubicBezTo>
                      <a:cubicBezTo>
                        <a:pt x="77" y="238"/>
                        <a:pt x="81" y="236"/>
                        <a:pt x="84" y="232"/>
                      </a:cubicBezTo>
                      <a:cubicBezTo>
                        <a:pt x="115" y="178"/>
                        <a:pt x="115" y="178"/>
                        <a:pt x="115" y="178"/>
                      </a:cubicBezTo>
                      <a:cubicBezTo>
                        <a:pt x="121" y="180"/>
                        <a:pt x="128" y="181"/>
                        <a:pt x="134" y="181"/>
                      </a:cubicBezTo>
                      <a:cubicBezTo>
                        <a:pt x="141" y="181"/>
                        <a:pt x="148" y="180"/>
                        <a:pt x="154" y="178"/>
                      </a:cubicBezTo>
                      <a:cubicBezTo>
                        <a:pt x="185" y="232"/>
                        <a:pt x="185" y="232"/>
                        <a:pt x="185" y="232"/>
                      </a:cubicBezTo>
                      <a:cubicBezTo>
                        <a:pt x="187" y="236"/>
                        <a:pt x="191" y="238"/>
                        <a:pt x="196" y="238"/>
                      </a:cubicBezTo>
                      <a:cubicBezTo>
                        <a:pt x="198" y="238"/>
                        <a:pt x="200" y="238"/>
                        <a:pt x="202" y="236"/>
                      </a:cubicBezTo>
                      <a:cubicBezTo>
                        <a:pt x="207" y="233"/>
                        <a:pt x="209" y="226"/>
                        <a:pt x="206" y="220"/>
                      </a:cubicBezTo>
                      <a:cubicBezTo>
                        <a:pt x="175" y="166"/>
                        <a:pt x="175" y="166"/>
                        <a:pt x="175" y="166"/>
                      </a:cubicBezTo>
                      <a:cubicBezTo>
                        <a:pt x="184" y="157"/>
                        <a:pt x="192" y="145"/>
                        <a:pt x="194" y="132"/>
                      </a:cubicBezTo>
                      <a:cubicBezTo>
                        <a:pt x="257" y="132"/>
                        <a:pt x="257" y="132"/>
                        <a:pt x="257" y="132"/>
                      </a:cubicBezTo>
                      <a:cubicBezTo>
                        <a:pt x="263" y="132"/>
                        <a:pt x="269" y="127"/>
                        <a:pt x="269" y="120"/>
                      </a:cubicBezTo>
                      <a:cubicBezTo>
                        <a:pt x="269" y="113"/>
                        <a:pt x="263" y="108"/>
                        <a:pt x="257" y="108"/>
                      </a:cubicBezTo>
                      <a:close/>
                      <a:moveTo>
                        <a:pt x="98" y="120"/>
                      </a:moveTo>
                      <a:cubicBezTo>
                        <a:pt x="98" y="100"/>
                        <a:pt x="114" y="83"/>
                        <a:pt x="134" y="83"/>
                      </a:cubicBezTo>
                      <a:cubicBezTo>
                        <a:pt x="155" y="83"/>
                        <a:pt x="171" y="100"/>
                        <a:pt x="171" y="120"/>
                      </a:cubicBezTo>
                      <a:cubicBezTo>
                        <a:pt x="171" y="140"/>
                        <a:pt x="155" y="157"/>
                        <a:pt x="134" y="157"/>
                      </a:cubicBezTo>
                      <a:cubicBezTo>
                        <a:pt x="114" y="157"/>
                        <a:pt x="98" y="140"/>
                        <a:pt x="98" y="12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FFFFFF"/>
                    </a:solidFill>
                    <a:latin typeface="Arial"/>
                  </a:endParaRPr>
                </a:p>
              </p:txBody>
            </p:sp>
          </p:grpSp>
        </p:grpSp>
        <p:sp>
          <p:nvSpPr>
            <p:cNvPr id="167" name="TextBox 166"/>
            <p:cNvSpPr txBox="1"/>
            <p:nvPr/>
          </p:nvSpPr>
          <p:spPr>
            <a:xfrm>
              <a:off x="5382639" y="3028373"/>
              <a:ext cx="1138132" cy="230832"/>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spcAft>
                  <a:spcPts val="450"/>
                </a:spcAft>
                <a:buClr>
                  <a:srgbClr val="FFFFFF"/>
                </a:buClr>
              </a:pPr>
              <a:r>
                <a:rPr lang="es-CO" sz="1500" dirty="0">
                  <a:solidFill>
                    <a:srgbClr val="000000"/>
                  </a:solidFill>
                  <a:latin typeface="Arial"/>
                </a:rPr>
                <a:t>Colaboración</a:t>
              </a:r>
            </a:p>
          </p:txBody>
        </p:sp>
      </p:grpSp>
      <p:grpSp>
        <p:nvGrpSpPr>
          <p:cNvPr id="14" name="Group 13">
            <a:extLst>
              <a:ext uri="{FF2B5EF4-FFF2-40B4-BE49-F238E27FC236}">
                <a16:creationId xmlns:a16="http://schemas.microsoft.com/office/drawing/2014/main" id="{ED234DCA-415E-4869-9977-E19ABC7D575F}"/>
              </a:ext>
            </a:extLst>
          </p:cNvPr>
          <p:cNvGrpSpPr/>
          <p:nvPr/>
        </p:nvGrpSpPr>
        <p:grpSpPr>
          <a:xfrm>
            <a:off x="4825178" y="2099838"/>
            <a:ext cx="1458756" cy="387915"/>
            <a:chOff x="4943393" y="2481505"/>
            <a:chExt cx="1458756" cy="387915"/>
          </a:xfrm>
        </p:grpSpPr>
        <p:grpSp>
          <p:nvGrpSpPr>
            <p:cNvPr id="168" name="Group 167"/>
            <p:cNvGrpSpPr/>
            <p:nvPr/>
          </p:nvGrpSpPr>
          <p:grpSpPr>
            <a:xfrm>
              <a:off x="4943393" y="2481505"/>
              <a:ext cx="387914" cy="387915"/>
              <a:chOff x="2843133" y="2126636"/>
              <a:chExt cx="474890" cy="474890"/>
            </a:xfrm>
          </p:grpSpPr>
          <p:sp>
            <p:nvSpPr>
              <p:cNvPr id="169" name="Oval 18"/>
              <p:cNvSpPr>
                <a:spLocks noChangeArrowheads="1"/>
              </p:cNvSpPr>
              <p:nvPr>
                <p:custDataLst>
                  <p:tags r:id="rId21"/>
                </p:custDataLst>
              </p:nvPr>
            </p:nvSpPr>
            <p:spPr bwMode="auto">
              <a:xfrm>
                <a:off x="2843133" y="2126636"/>
                <a:ext cx="474890" cy="474890"/>
              </a:xfrm>
              <a:prstGeom prst="ellipse">
                <a:avLst/>
              </a:prstGeom>
              <a:solidFill>
                <a:schemeClr val="tx2"/>
              </a:solidFill>
              <a:ln w="12700">
                <a:solidFill>
                  <a:schemeClr val="accent1">
                    <a:lumMod val="60000"/>
                    <a:lumOff val="40000"/>
                  </a:schemeClr>
                </a:solidFill>
                <a:miter lim="800000"/>
                <a:headEnd/>
                <a:tailEn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76" tIns="34288" rIns="68576" bIns="34288" numCol="1" spcCol="0" rtlCol="0" fromWordArt="0" anchor="ctr" anchorCtr="0" forceAA="0" compatLnSpc="1">
                <a:prstTxWarp prst="textNoShape">
                  <a:avLst/>
                </a:prstTxWarp>
                <a:noAutofit/>
              </a:bodyPr>
              <a:lstStyle/>
              <a:p>
                <a:pPr algn="ctr" defTabSz="685750"/>
                <a:endParaRPr lang="es-CO" sz="1500" dirty="0">
                  <a:solidFill>
                    <a:srgbClr val="002960"/>
                  </a:solidFill>
                  <a:latin typeface="Arial"/>
                </a:endParaRPr>
              </a:p>
            </p:txBody>
          </p:sp>
          <p:grpSp>
            <p:nvGrpSpPr>
              <p:cNvPr id="170" name="Group 169"/>
              <p:cNvGrpSpPr/>
              <p:nvPr/>
            </p:nvGrpSpPr>
            <p:grpSpPr>
              <a:xfrm>
                <a:off x="2908416" y="2225579"/>
                <a:ext cx="344326" cy="277002"/>
                <a:chOff x="2959833" y="2266943"/>
                <a:chExt cx="241492" cy="194274"/>
              </a:xfrm>
            </p:grpSpPr>
            <p:sp>
              <p:nvSpPr>
                <p:cNvPr id="171" name="Freeform 282"/>
                <p:cNvSpPr>
                  <a:spLocks/>
                </p:cNvSpPr>
                <p:nvPr/>
              </p:nvSpPr>
              <p:spPr bwMode="auto">
                <a:xfrm>
                  <a:off x="2959833" y="2297973"/>
                  <a:ext cx="52616" cy="17540"/>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2" name="Freeform 283"/>
                <p:cNvSpPr>
                  <a:spLocks/>
                </p:cNvSpPr>
                <p:nvPr/>
              </p:nvSpPr>
              <p:spPr bwMode="auto">
                <a:xfrm>
                  <a:off x="2959833" y="2343844"/>
                  <a:ext cx="52616" cy="17540"/>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3" name="Rectangle 284"/>
                <p:cNvSpPr>
                  <a:spLocks noChangeArrowheads="1"/>
                </p:cNvSpPr>
                <p:nvPr/>
              </p:nvSpPr>
              <p:spPr bwMode="auto">
                <a:xfrm>
                  <a:off x="2977371" y="2320908"/>
                  <a:ext cx="17540" cy="1754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4" name="Rectangle 285"/>
                <p:cNvSpPr>
                  <a:spLocks noChangeArrowheads="1"/>
                </p:cNvSpPr>
                <p:nvPr/>
              </p:nvSpPr>
              <p:spPr bwMode="auto">
                <a:xfrm>
                  <a:off x="2977371" y="2366779"/>
                  <a:ext cx="17540" cy="1619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5" name="Freeform 286"/>
                <p:cNvSpPr>
                  <a:spLocks/>
                </p:cNvSpPr>
                <p:nvPr/>
              </p:nvSpPr>
              <p:spPr bwMode="auto">
                <a:xfrm>
                  <a:off x="2959833" y="2388365"/>
                  <a:ext cx="52616" cy="17540"/>
                </a:xfrm>
                <a:custGeom>
                  <a:avLst/>
                  <a:gdLst>
                    <a:gd name="T0" fmla="*/ 69 w 69"/>
                    <a:gd name="T1" fmla="*/ 12 h 23"/>
                    <a:gd name="T2" fmla="*/ 58 w 69"/>
                    <a:gd name="T3" fmla="*/ 0 h 23"/>
                    <a:gd name="T4" fmla="*/ 12 w 69"/>
                    <a:gd name="T5" fmla="*/ 0 h 23"/>
                    <a:gd name="T6" fmla="*/ 0 w 69"/>
                    <a:gd name="T7" fmla="*/ 12 h 23"/>
                    <a:gd name="T8" fmla="*/ 12 w 69"/>
                    <a:gd name="T9" fmla="*/ 23 h 23"/>
                    <a:gd name="T10" fmla="*/ 58 w 69"/>
                    <a:gd name="T11" fmla="*/ 23 h 23"/>
                    <a:gd name="T12" fmla="*/ 69 w 69"/>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69" y="12"/>
                      </a:moveTo>
                      <a:cubicBezTo>
                        <a:pt x="69" y="5"/>
                        <a:pt x="64" y="0"/>
                        <a:pt x="58" y="0"/>
                      </a:cubicBezTo>
                      <a:cubicBezTo>
                        <a:pt x="12" y="0"/>
                        <a:pt x="12" y="0"/>
                        <a:pt x="12" y="0"/>
                      </a:cubicBezTo>
                      <a:cubicBezTo>
                        <a:pt x="5" y="0"/>
                        <a:pt x="0" y="5"/>
                        <a:pt x="0" y="12"/>
                      </a:cubicBezTo>
                      <a:cubicBezTo>
                        <a:pt x="0" y="18"/>
                        <a:pt x="5" y="23"/>
                        <a:pt x="12" y="23"/>
                      </a:cubicBezTo>
                      <a:cubicBezTo>
                        <a:pt x="58" y="23"/>
                        <a:pt x="58" y="23"/>
                        <a:pt x="58" y="23"/>
                      </a:cubicBezTo>
                      <a:cubicBezTo>
                        <a:pt x="64" y="23"/>
                        <a:pt x="69" y="18"/>
                        <a:pt x="69"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6" name="Freeform 287"/>
                <p:cNvSpPr>
                  <a:spLocks/>
                </p:cNvSpPr>
                <p:nvPr/>
              </p:nvSpPr>
              <p:spPr bwMode="auto">
                <a:xfrm>
                  <a:off x="2977371" y="2266943"/>
                  <a:ext cx="169989" cy="40473"/>
                </a:xfrm>
                <a:custGeom>
                  <a:avLst/>
                  <a:gdLst>
                    <a:gd name="T0" fmla="*/ 23 w 222"/>
                    <a:gd name="T1" fmla="*/ 25 h 53"/>
                    <a:gd name="T2" fmla="*/ 25 w 222"/>
                    <a:gd name="T3" fmla="*/ 24 h 53"/>
                    <a:gd name="T4" fmla="*/ 197 w 222"/>
                    <a:gd name="T5" fmla="*/ 24 h 53"/>
                    <a:gd name="T6" fmla="*/ 199 w 222"/>
                    <a:gd name="T7" fmla="*/ 25 h 53"/>
                    <a:gd name="T8" fmla="*/ 199 w 222"/>
                    <a:gd name="T9" fmla="*/ 53 h 53"/>
                    <a:gd name="T10" fmla="*/ 222 w 222"/>
                    <a:gd name="T11" fmla="*/ 24 h 53"/>
                    <a:gd name="T12" fmla="*/ 197 w 222"/>
                    <a:gd name="T13" fmla="*/ 0 h 53"/>
                    <a:gd name="T14" fmla="*/ 25 w 222"/>
                    <a:gd name="T15" fmla="*/ 0 h 53"/>
                    <a:gd name="T16" fmla="*/ 0 w 222"/>
                    <a:gd name="T17" fmla="*/ 25 h 53"/>
                    <a:gd name="T18" fmla="*/ 0 w 222"/>
                    <a:gd name="T19" fmla="*/ 35 h 53"/>
                    <a:gd name="T20" fmla="*/ 23 w 222"/>
                    <a:gd name="T21" fmla="*/ 35 h 53"/>
                    <a:gd name="T22" fmla="*/ 23 w 222"/>
                    <a:gd name="T23" fmla="*/ 2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53">
                      <a:moveTo>
                        <a:pt x="23" y="25"/>
                      </a:moveTo>
                      <a:cubicBezTo>
                        <a:pt x="23" y="24"/>
                        <a:pt x="24" y="24"/>
                        <a:pt x="25" y="24"/>
                      </a:cubicBezTo>
                      <a:cubicBezTo>
                        <a:pt x="197" y="24"/>
                        <a:pt x="197" y="24"/>
                        <a:pt x="197" y="24"/>
                      </a:cubicBezTo>
                      <a:cubicBezTo>
                        <a:pt x="198" y="24"/>
                        <a:pt x="199" y="24"/>
                        <a:pt x="199" y="25"/>
                      </a:cubicBezTo>
                      <a:cubicBezTo>
                        <a:pt x="199" y="53"/>
                        <a:pt x="199" y="53"/>
                        <a:pt x="199" y="53"/>
                      </a:cubicBezTo>
                      <a:cubicBezTo>
                        <a:pt x="222" y="24"/>
                        <a:pt x="222" y="24"/>
                        <a:pt x="222" y="24"/>
                      </a:cubicBezTo>
                      <a:cubicBezTo>
                        <a:pt x="222" y="11"/>
                        <a:pt x="211" y="0"/>
                        <a:pt x="197" y="0"/>
                      </a:cubicBezTo>
                      <a:cubicBezTo>
                        <a:pt x="25" y="0"/>
                        <a:pt x="25" y="0"/>
                        <a:pt x="25" y="0"/>
                      </a:cubicBezTo>
                      <a:cubicBezTo>
                        <a:pt x="11" y="0"/>
                        <a:pt x="0" y="12"/>
                        <a:pt x="0" y="25"/>
                      </a:cubicBezTo>
                      <a:cubicBezTo>
                        <a:pt x="0" y="35"/>
                        <a:pt x="0" y="35"/>
                        <a:pt x="0" y="35"/>
                      </a:cubicBezTo>
                      <a:cubicBezTo>
                        <a:pt x="23" y="35"/>
                        <a:pt x="23" y="35"/>
                        <a:pt x="23" y="35"/>
                      </a:cubicBezTo>
                      <a:lnTo>
                        <a:pt x="23" y="2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7" name="Freeform 288"/>
                <p:cNvSpPr>
                  <a:spLocks/>
                </p:cNvSpPr>
                <p:nvPr/>
              </p:nvSpPr>
              <p:spPr bwMode="auto">
                <a:xfrm>
                  <a:off x="2977371" y="2405903"/>
                  <a:ext cx="169989" cy="55314"/>
                </a:xfrm>
                <a:custGeom>
                  <a:avLst/>
                  <a:gdLst>
                    <a:gd name="T0" fmla="*/ 199 w 222"/>
                    <a:gd name="T1" fmla="*/ 47 h 72"/>
                    <a:gd name="T2" fmla="*/ 197 w 222"/>
                    <a:gd name="T3" fmla="*/ 49 h 72"/>
                    <a:gd name="T4" fmla="*/ 25 w 222"/>
                    <a:gd name="T5" fmla="*/ 49 h 72"/>
                    <a:gd name="T6" fmla="*/ 23 w 222"/>
                    <a:gd name="T7" fmla="*/ 47 h 72"/>
                    <a:gd name="T8" fmla="*/ 23 w 222"/>
                    <a:gd name="T9" fmla="*/ 8 h 72"/>
                    <a:gd name="T10" fmla="*/ 0 w 222"/>
                    <a:gd name="T11" fmla="*/ 8 h 72"/>
                    <a:gd name="T12" fmla="*/ 0 w 222"/>
                    <a:gd name="T13" fmla="*/ 47 h 72"/>
                    <a:gd name="T14" fmla="*/ 25 w 222"/>
                    <a:gd name="T15" fmla="*/ 72 h 72"/>
                    <a:gd name="T16" fmla="*/ 197 w 222"/>
                    <a:gd name="T17" fmla="*/ 72 h 72"/>
                    <a:gd name="T18" fmla="*/ 222 w 222"/>
                    <a:gd name="T19" fmla="*/ 47 h 72"/>
                    <a:gd name="T20" fmla="*/ 222 w 222"/>
                    <a:gd name="T21" fmla="*/ 0 h 72"/>
                    <a:gd name="T22" fmla="*/ 199 w 222"/>
                    <a:gd name="T23" fmla="*/ 9 h 72"/>
                    <a:gd name="T24" fmla="*/ 199 w 222"/>
                    <a:gd name="T25"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72">
                      <a:moveTo>
                        <a:pt x="199" y="47"/>
                      </a:moveTo>
                      <a:cubicBezTo>
                        <a:pt x="199" y="48"/>
                        <a:pt x="198" y="49"/>
                        <a:pt x="197" y="49"/>
                      </a:cubicBezTo>
                      <a:cubicBezTo>
                        <a:pt x="25" y="49"/>
                        <a:pt x="25" y="49"/>
                        <a:pt x="25" y="49"/>
                      </a:cubicBezTo>
                      <a:cubicBezTo>
                        <a:pt x="24" y="49"/>
                        <a:pt x="23" y="48"/>
                        <a:pt x="23" y="47"/>
                      </a:cubicBezTo>
                      <a:cubicBezTo>
                        <a:pt x="23" y="8"/>
                        <a:pt x="23" y="8"/>
                        <a:pt x="23" y="8"/>
                      </a:cubicBezTo>
                      <a:cubicBezTo>
                        <a:pt x="0" y="8"/>
                        <a:pt x="0" y="8"/>
                        <a:pt x="0" y="8"/>
                      </a:cubicBezTo>
                      <a:cubicBezTo>
                        <a:pt x="0" y="47"/>
                        <a:pt x="0" y="47"/>
                        <a:pt x="0" y="47"/>
                      </a:cubicBezTo>
                      <a:cubicBezTo>
                        <a:pt x="0" y="61"/>
                        <a:pt x="11" y="72"/>
                        <a:pt x="25" y="72"/>
                      </a:cubicBezTo>
                      <a:cubicBezTo>
                        <a:pt x="197" y="72"/>
                        <a:pt x="197" y="72"/>
                        <a:pt x="197" y="72"/>
                      </a:cubicBezTo>
                      <a:cubicBezTo>
                        <a:pt x="211" y="72"/>
                        <a:pt x="222" y="61"/>
                        <a:pt x="222" y="47"/>
                      </a:cubicBezTo>
                      <a:cubicBezTo>
                        <a:pt x="222" y="0"/>
                        <a:pt x="222" y="0"/>
                        <a:pt x="222" y="0"/>
                      </a:cubicBezTo>
                      <a:cubicBezTo>
                        <a:pt x="199" y="9"/>
                        <a:pt x="199" y="9"/>
                        <a:pt x="199" y="9"/>
                      </a:cubicBezTo>
                      <a:lnTo>
                        <a:pt x="199" y="4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8" name="Freeform 289"/>
                <p:cNvSpPr>
                  <a:spLocks/>
                </p:cNvSpPr>
                <p:nvPr/>
              </p:nvSpPr>
              <p:spPr bwMode="auto">
                <a:xfrm>
                  <a:off x="3121726" y="2288529"/>
                  <a:ext cx="79599" cy="80947"/>
                </a:xfrm>
                <a:custGeom>
                  <a:avLst/>
                  <a:gdLst>
                    <a:gd name="T0" fmla="*/ 101 w 105"/>
                    <a:gd name="T1" fmla="*/ 38 h 106"/>
                    <a:gd name="T2" fmla="*/ 67 w 105"/>
                    <a:gd name="T3" fmla="*/ 4 h 106"/>
                    <a:gd name="T4" fmla="*/ 50 w 105"/>
                    <a:gd name="T5" fmla="*/ 9 h 106"/>
                    <a:gd name="T6" fmla="*/ 0 w 105"/>
                    <a:gd name="T7" fmla="*/ 70 h 106"/>
                    <a:gd name="T8" fmla="*/ 35 w 105"/>
                    <a:gd name="T9" fmla="*/ 106 h 106"/>
                    <a:gd name="T10" fmla="*/ 97 w 105"/>
                    <a:gd name="T11" fmla="*/ 55 h 106"/>
                    <a:gd name="T12" fmla="*/ 101 w 105"/>
                    <a:gd name="T13" fmla="*/ 38 h 106"/>
                  </a:gdLst>
                  <a:ahLst/>
                  <a:cxnLst>
                    <a:cxn ang="0">
                      <a:pos x="T0" y="T1"/>
                    </a:cxn>
                    <a:cxn ang="0">
                      <a:pos x="T2" y="T3"/>
                    </a:cxn>
                    <a:cxn ang="0">
                      <a:pos x="T4" y="T5"/>
                    </a:cxn>
                    <a:cxn ang="0">
                      <a:pos x="T6" y="T7"/>
                    </a:cxn>
                    <a:cxn ang="0">
                      <a:pos x="T8" y="T9"/>
                    </a:cxn>
                    <a:cxn ang="0">
                      <a:pos x="T10" y="T11"/>
                    </a:cxn>
                    <a:cxn ang="0">
                      <a:pos x="T12" y="T13"/>
                    </a:cxn>
                  </a:cxnLst>
                  <a:rect l="0" t="0" r="r" b="b"/>
                  <a:pathLst>
                    <a:path w="105" h="106">
                      <a:moveTo>
                        <a:pt x="101" y="38"/>
                      </a:moveTo>
                      <a:cubicBezTo>
                        <a:pt x="67" y="4"/>
                        <a:pt x="67" y="4"/>
                        <a:pt x="67" y="4"/>
                      </a:cubicBezTo>
                      <a:cubicBezTo>
                        <a:pt x="63" y="0"/>
                        <a:pt x="55" y="2"/>
                        <a:pt x="50" y="9"/>
                      </a:cubicBezTo>
                      <a:cubicBezTo>
                        <a:pt x="0" y="70"/>
                        <a:pt x="0" y="70"/>
                        <a:pt x="0" y="70"/>
                      </a:cubicBezTo>
                      <a:cubicBezTo>
                        <a:pt x="35" y="106"/>
                        <a:pt x="35" y="106"/>
                        <a:pt x="35" y="106"/>
                      </a:cubicBezTo>
                      <a:cubicBezTo>
                        <a:pt x="97" y="55"/>
                        <a:pt x="97" y="55"/>
                        <a:pt x="97" y="55"/>
                      </a:cubicBezTo>
                      <a:cubicBezTo>
                        <a:pt x="103" y="50"/>
                        <a:pt x="105" y="42"/>
                        <a:pt x="101" y="3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79" name="Freeform 290"/>
                <p:cNvSpPr>
                  <a:spLocks/>
                </p:cNvSpPr>
                <p:nvPr/>
              </p:nvSpPr>
              <p:spPr bwMode="auto">
                <a:xfrm>
                  <a:off x="3071809" y="2346542"/>
                  <a:ext cx="72852" cy="71503"/>
                </a:xfrm>
                <a:custGeom>
                  <a:avLst/>
                  <a:gdLst>
                    <a:gd name="T0" fmla="*/ 54 w 95"/>
                    <a:gd name="T1" fmla="*/ 45 h 95"/>
                    <a:gd name="T2" fmla="*/ 4 w 95"/>
                    <a:gd name="T3" fmla="*/ 92 h 95"/>
                    <a:gd name="T4" fmla="*/ 16 w 95"/>
                    <a:gd name="T5" fmla="*/ 92 h 95"/>
                    <a:gd name="T6" fmla="*/ 19 w 95"/>
                    <a:gd name="T7" fmla="*/ 87 h 95"/>
                    <a:gd name="T8" fmla="*/ 80 w 95"/>
                    <a:gd name="T9" fmla="*/ 63 h 95"/>
                    <a:gd name="T10" fmla="*/ 83 w 95"/>
                    <a:gd name="T11" fmla="*/ 40 h 95"/>
                    <a:gd name="T12" fmla="*/ 91 w 95"/>
                    <a:gd name="T13" fmla="*/ 38 h 95"/>
                    <a:gd name="T14" fmla="*/ 95 w 95"/>
                    <a:gd name="T15" fmla="*/ 35 h 95"/>
                    <a:gd name="T16" fmla="*/ 61 w 95"/>
                    <a:gd name="T17" fmla="*/ 0 h 95"/>
                    <a:gd name="T18" fmla="*/ 57 w 95"/>
                    <a:gd name="T19" fmla="*/ 4 h 95"/>
                    <a:gd name="T20" fmla="*/ 56 w 95"/>
                    <a:gd name="T21" fmla="*/ 12 h 95"/>
                    <a:gd name="T22" fmla="*/ 33 w 95"/>
                    <a:gd name="T23" fmla="*/ 16 h 95"/>
                    <a:gd name="T24" fmla="*/ 8 w 95"/>
                    <a:gd name="T25" fmla="*/ 77 h 95"/>
                    <a:gd name="T26" fmla="*/ 4 w 95"/>
                    <a:gd name="T27" fmla="*/ 79 h 95"/>
                    <a:gd name="T28" fmla="*/ 3 w 95"/>
                    <a:gd name="T29" fmla="*/ 92 h 95"/>
                    <a:gd name="T30" fmla="*/ 51 w 95"/>
                    <a:gd name="T31" fmla="*/ 42 h 95"/>
                    <a:gd name="T32" fmla="*/ 52 w 95"/>
                    <a:gd name="T33" fmla="*/ 34 h 95"/>
                    <a:gd name="T34" fmla="*/ 61 w 95"/>
                    <a:gd name="T35" fmla="*/ 34 h 95"/>
                    <a:gd name="T36" fmla="*/ 61 w 95"/>
                    <a:gd name="T37" fmla="*/ 44 h 95"/>
                    <a:gd name="T38" fmla="*/ 54 w 95"/>
                    <a:gd name="T39"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95">
                      <a:moveTo>
                        <a:pt x="54" y="45"/>
                      </a:moveTo>
                      <a:cubicBezTo>
                        <a:pt x="4" y="92"/>
                        <a:pt x="4" y="92"/>
                        <a:pt x="4" y="92"/>
                      </a:cubicBezTo>
                      <a:cubicBezTo>
                        <a:pt x="7" y="95"/>
                        <a:pt x="13" y="95"/>
                        <a:pt x="16" y="92"/>
                      </a:cubicBezTo>
                      <a:cubicBezTo>
                        <a:pt x="18" y="91"/>
                        <a:pt x="18" y="89"/>
                        <a:pt x="19" y="87"/>
                      </a:cubicBezTo>
                      <a:cubicBezTo>
                        <a:pt x="80" y="63"/>
                        <a:pt x="80" y="63"/>
                        <a:pt x="80" y="63"/>
                      </a:cubicBezTo>
                      <a:cubicBezTo>
                        <a:pt x="83" y="40"/>
                        <a:pt x="83" y="40"/>
                        <a:pt x="83" y="40"/>
                      </a:cubicBezTo>
                      <a:cubicBezTo>
                        <a:pt x="86" y="41"/>
                        <a:pt x="89" y="40"/>
                        <a:pt x="91" y="38"/>
                      </a:cubicBezTo>
                      <a:cubicBezTo>
                        <a:pt x="95" y="35"/>
                        <a:pt x="95" y="35"/>
                        <a:pt x="95" y="35"/>
                      </a:cubicBezTo>
                      <a:cubicBezTo>
                        <a:pt x="61" y="0"/>
                        <a:pt x="61" y="0"/>
                        <a:pt x="61" y="0"/>
                      </a:cubicBezTo>
                      <a:cubicBezTo>
                        <a:pt x="57" y="4"/>
                        <a:pt x="57" y="4"/>
                        <a:pt x="57" y="4"/>
                      </a:cubicBezTo>
                      <a:cubicBezTo>
                        <a:pt x="55" y="7"/>
                        <a:pt x="55" y="9"/>
                        <a:pt x="56" y="12"/>
                      </a:cubicBezTo>
                      <a:cubicBezTo>
                        <a:pt x="33" y="16"/>
                        <a:pt x="33" y="16"/>
                        <a:pt x="33" y="16"/>
                      </a:cubicBezTo>
                      <a:cubicBezTo>
                        <a:pt x="8" y="77"/>
                        <a:pt x="8" y="77"/>
                        <a:pt x="8" y="77"/>
                      </a:cubicBezTo>
                      <a:cubicBezTo>
                        <a:pt x="7" y="77"/>
                        <a:pt x="5" y="78"/>
                        <a:pt x="4" y="79"/>
                      </a:cubicBezTo>
                      <a:cubicBezTo>
                        <a:pt x="0" y="83"/>
                        <a:pt x="0" y="88"/>
                        <a:pt x="3" y="92"/>
                      </a:cubicBezTo>
                      <a:cubicBezTo>
                        <a:pt x="51" y="42"/>
                        <a:pt x="51" y="42"/>
                        <a:pt x="51" y="42"/>
                      </a:cubicBezTo>
                      <a:cubicBezTo>
                        <a:pt x="50" y="39"/>
                        <a:pt x="50" y="36"/>
                        <a:pt x="52" y="34"/>
                      </a:cubicBezTo>
                      <a:cubicBezTo>
                        <a:pt x="55" y="32"/>
                        <a:pt x="59" y="32"/>
                        <a:pt x="61" y="34"/>
                      </a:cubicBezTo>
                      <a:cubicBezTo>
                        <a:pt x="64" y="37"/>
                        <a:pt x="64" y="41"/>
                        <a:pt x="61" y="44"/>
                      </a:cubicBezTo>
                      <a:cubicBezTo>
                        <a:pt x="59" y="46"/>
                        <a:pt x="56" y="46"/>
                        <a:pt x="54" y="4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80" name="Rectangle 291"/>
                <p:cNvSpPr>
                  <a:spLocks noChangeArrowheads="1"/>
                </p:cNvSpPr>
                <p:nvPr/>
              </p:nvSpPr>
              <p:spPr bwMode="auto">
                <a:xfrm>
                  <a:off x="3031336" y="2306067"/>
                  <a:ext cx="62059" cy="242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81" name="Rectangle 292"/>
                <p:cNvSpPr>
                  <a:spLocks noChangeArrowheads="1"/>
                </p:cNvSpPr>
                <p:nvPr/>
              </p:nvSpPr>
              <p:spPr bwMode="auto">
                <a:xfrm>
                  <a:off x="3031336" y="2351938"/>
                  <a:ext cx="37776" cy="242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sp>
              <p:nvSpPr>
                <p:cNvPr id="182" name="Rectangle 293"/>
                <p:cNvSpPr>
                  <a:spLocks noChangeArrowheads="1"/>
                </p:cNvSpPr>
                <p:nvPr/>
              </p:nvSpPr>
              <p:spPr bwMode="auto">
                <a:xfrm>
                  <a:off x="3031336" y="2396459"/>
                  <a:ext cx="25634" cy="2428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none" lIns="68576" tIns="34288" rIns="68576" bIns="34288" numCol="1" anchor="t" anchorCtr="0" compatLnSpc="1">
                  <a:prstTxWarp prst="textNoShape">
                    <a:avLst/>
                  </a:prstTxWarp>
                  <a:noAutofit/>
                </a:bodyPr>
                <a:lstStyle/>
                <a:p>
                  <a:pPr defTabSz="685750"/>
                  <a:endParaRPr lang="es-CO" sz="1500" dirty="0">
                    <a:solidFill>
                      <a:srgbClr val="002960"/>
                    </a:solidFill>
                    <a:latin typeface="Arial"/>
                  </a:endParaRPr>
                </a:p>
              </p:txBody>
            </p:sp>
          </p:grpSp>
        </p:grpSp>
        <p:sp>
          <p:nvSpPr>
            <p:cNvPr id="183" name="TextBox 182"/>
            <p:cNvSpPr txBox="1"/>
            <p:nvPr/>
          </p:nvSpPr>
          <p:spPr>
            <a:xfrm>
              <a:off x="5382639" y="2562326"/>
              <a:ext cx="1019510" cy="230832"/>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spcAft>
                  <a:spcPts val="450"/>
                </a:spcAft>
                <a:buClr>
                  <a:srgbClr val="FFFFFF"/>
                </a:buClr>
              </a:pPr>
              <a:r>
                <a:rPr lang="es-CO" sz="1500" dirty="0">
                  <a:solidFill>
                    <a:srgbClr val="000000"/>
                  </a:solidFill>
                  <a:latin typeface="Arial"/>
                </a:rPr>
                <a:t>Regulación </a:t>
              </a:r>
            </a:p>
          </p:txBody>
        </p:sp>
      </p:grpSp>
      <p:sp>
        <p:nvSpPr>
          <p:cNvPr id="196" name="Oval 195"/>
          <p:cNvSpPr>
            <a:spLocks/>
          </p:cNvSpPr>
          <p:nvPr/>
        </p:nvSpPr>
        <p:spPr>
          <a:xfrm>
            <a:off x="7240400" y="2742898"/>
            <a:ext cx="822684" cy="380912"/>
          </a:xfrm>
          <a:prstGeom prst="ellipse">
            <a:avLst/>
          </a:prstGeom>
          <a:solidFill>
            <a:schemeClr val="accent4"/>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defTabSz="685750">
              <a:buClr>
                <a:srgbClr val="FFFFFF"/>
              </a:buClr>
            </a:pPr>
            <a:r>
              <a:rPr lang="es-CO" sz="1400" b="1" dirty="0">
                <a:solidFill>
                  <a:srgbClr val="FFFFFF"/>
                </a:solidFill>
                <a:latin typeface="Arial"/>
              </a:rPr>
              <a:t>+50%</a:t>
            </a:r>
          </a:p>
        </p:txBody>
      </p:sp>
      <p:sp>
        <p:nvSpPr>
          <p:cNvPr id="110" name="4. Footnote"/>
          <p:cNvSpPr txBox="1">
            <a:spLocks noChangeArrowheads="1"/>
          </p:cNvSpPr>
          <p:nvPr/>
        </p:nvSpPr>
        <p:spPr bwMode="gray">
          <a:xfrm>
            <a:off x="589449" y="6275167"/>
            <a:ext cx="8548686"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4289" indent="-64289" defTabSz="671464">
              <a:defRPr/>
            </a:pPr>
            <a:r>
              <a:rPr lang="es-CO" sz="800" dirty="0">
                <a:solidFill>
                  <a:schemeClr val="accent6"/>
                </a:solidFill>
                <a:latin typeface="Arial" panose="020B0604020202020204" pitchFamily="34" charset="0"/>
              </a:rPr>
              <a:t>1 Valor agregado bruto real por hora trabajada</a:t>
            </a:r>
          </a:p>
        </p:txBody>
      </p:sp>
      <p:sp>
        <p:nvSpPr>
          <p:cNvPr id="112" name="Oval 111">
            <a:extLst>
              <a:ext uri="{FF2B5EF4-FFF2-40B4-BE49-F238E27FC236}">
                <a16:creationId xmlns:a16="http://schemas.microsoft.com/office/drawing/2014/main" id="{0B2815C1-0004-43AC-8A51-ECD503B1E769}"/>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graphicFrame>
        <p:nvGraphicFramePr>
          <p:cNvPr id="3" name="Object 2">
            <a:extLst>
              <a:ext uri="{FF2B5EF4-FFF2-40B4-BE49-F238E27FC236}">
                <a16:creationId xmlns:a16="http://schemas.microsoft.com/office/drawing/2014/main" id="{9D446B64-F294-4B24-BEC5-4A463C686B88}"/>
              </a:ext>
            </a:extLst>
          </p:cNvPr>
          <p:cNvGraphicFramePr>
            <a:graphicFrameLocks/>
          </p:cNvGraphicFramePr>
          <p:nvPr>
            <p:custDataLst>
              <p:tags r:id="rId7"/>
            </p:custDataLst>
            <p:extLst>
              <p:ext uri="{D42A27DB-BD31-4B8C-83A1-F6EECF244321}">
                <p14:modId xmlns:p14="http://schemas.microsoft.com/office/powerpoint/2010/main" val="254779042"/>
              </p:ext>
            </p:extLst>
          </p:nvPr>
        </p:nvGraphicFramePr>
        <p:xfrm>
          <a:off x="6781799" y="3390900"/>
          <a:ext cx="1783040" cy="1988820"/>
        </p:xfrm>
        <a:graphic>
          <a:graphicData uri="http://schemas.openxmlformats.org/presentationml/2006/ole">
            <mc:AlternateContent xmlns:mc="http://schemas.openxmlformats.org/markup-compatibility/2006">
              <mc:Choice xmlns:v="urn:schemas-microsoft-com:vml" Requires="v">
                <p:oleObj spid="_x0000_s140511" name="Chart" r:id="rId35" imgW="1783040" imgH="1988820" progId="MSGraph.Chart.8">
                  <p:embed followColorScheme="full"/>
                </p:oleObj>
              </mc:Choice>
              <mc:Fallback>
                <p:oleObj name="Chart" r:id="rId35" imgW="1783040" imgH="1988820" progId="MSGraph.Chart.8">
                  <p:embed followColorScheme="full"/>
                  <p:pic>
                    <p:nvPicPr>
                      <p:cNvPr id="3" name="Object 2">
                        <a:extLst>
                          <a:ext uri="{FF2B5EF4-FFF2-40B4-BE49-F238E27FC236}">
                            <a16:creationId xmlns:a16="http://schemas.microsoft.com/office/drawing/2014/main" id="{9D446B64-F294-4B24-BEC5-4A463C686B88}"/>
                          </a:ext>
                        </a:extLst>
                      </p:cNvPr>
                      <p:cNvPicPr/>
                      <p:nvPr/>
                    </p:nvPicPr>
                    <p:blipFill>
                      <a:blip r:embed="rId36"/>
                      <a:stretch>
                        <a:fillRect/>
                      </a:stretch>
                    </p:blipFill>
                    <p:spPr>
                      <a:xfrm>
                        <a:off x="6781799" y="3390900"/>
                        <a:ext cx="1783040" cy="1988820"/>
                      </a:xfrm>
                      <a:prstGeom prst="rect">
                        <a:avLst/>
                      </a:prstGeom>
                    </p:spPr>
                  </p:pic>
                </p:oleObj>
              </mc:Fallback>
            </mc:AlternateContent>
          </a:graphicData>
        </a:graphic>
      </p:graphicFrame>
      <p:sp>
        <p:nvSpPr>
          <p:cNvPr id="109" name="Text Placeholder 2">
            <a:extLst>
              <a:ext uri="{FF2B5EF4-FFF2-40B4-BE49-F238E27FC236}">
                <a16:creationId xmlns:a16="http://schemas.microsoft.com/office/drawing/2014/main" id="{A749E413-B798-41DD-93C3-3355EFD457EC}"/>
              </a:ext>
            </a:extLst>
          </p:cNvPr>
          <p:cNvSpPr>
            <a:spLocks noGrp="1"/>
          </p:cNvSpPr>
          <p:nvPr>
            <p:custDataLst>
              <p:tags r:id="rId8"/>
            </p:custDataLst>
          </p:nvPr>
        </p:nvSpPr>
        <p:spPr bwMode="auto">
          <a:xfrm>
            <a:off x="6986588" y="5399088"/>
            <a:ext cx="1373188"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180625E-3D01-43D6-8B2D-5FA09E02F41E}" type="datetime'''Con''''strucció''n''&#10;''gl''o''ba''l'' m''''ejo''ra''''da'">
              <a:rPr lang="es-CO" altLang="en-US" sz="1500"/>
              <a:pPr algn="ctr"/>
              <a:t>Construcción
global mejorada</a:t>
            </a:fld>
            <a:endParaRPr lang="es-CO" sz="1500" dirty="0">
              <a:sym typeface="+mn-lt"/>
            </a:endParaRPr>
          </a:p>
        </p:txBody>
      </p:sp>
      <p:sp>
        <p:nvSpPr>
          <p:cNvPr id="201" name="Text Placeholder 2">
            <a:extLst>
              <a:ext uri="{FF2B5EF4-FFF2-40B4-BE49-F238E27FC236}">
                <a16:creationId xmlns:a16="http://schemas.microsoft.com/office/drawing/2014/main" id="{24B17038-2F60-4E35-A47F-FBBD677789AE}"/>
              </a:ext>
            </a:extLst>
          </p:cNvPr>
          <p:cNvSpPr>
            <a:spLocks noGrp="1"/>
          </p:cNvSpPr>
          <p:nvPr>
            <p:custDataLst>
              <p:tags r:id="rId9"/>
            </p:custDataLst>
          </p:nvPr>
        </p:nvSpPr>
        <p:spPr bwMode="gray">
          <a:xfrm>
            <a:off x="7542213" y="3243263"/>
            <a:ext cx="260350" cy="228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3813" tIns="0" rIns="23813"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7C9FDC0-3D17-42B2-B711-286CF04FBD73}" type="datetime'''''''''''''''''''''''''''''''''''''''''4''''''''''''''''''0'">
              <a:rPr lang="es-CO" altLang="en-US" sz="1500"/>
              <a:pPr/>
              <a:t>40</a:t>
            </a:fld>
            <a:endParaRPr lang="es-CO" sz="1500" dirty="0">
              <a:sym typeface="+mn-lt"/>
            </a:endParaRPr>
          </a:p>
        </p:txBody>
      </p:sp>
      <p:graphicFrame>
        <p:nvGraphicFramePr>
          <p:cNvPr id="204" name="Object 203">
            <a:extLst>
              <a:ext uri="{FF2B5EF4-FFF2-40B4-BE49-F238E27FC236}">
                <a16:creationId xmlns:a16="http://schemas.microsoft.com/office/drawing/2014/main" id="{B7DB2AFB-6762-4E46-B194-24FD52950D6F}"/>
              </a:ext>
            </a:extLst>
          </p:cNvPr>
          <p:cNvGraphicFramePr>
            <a:graphicFrameLocks/>
          </p:cNvGraphicFramePr>
          <p:nvPr>
            <p:custDataLst>
              <p:tags r:id="rId10"/>
            </p:custDataLst>
          </p:nvPr>
        </p:nvGraphicFramePr>
        <p:xfrm>
          <a:off x="9220201" y="2590800"/>
          <a:ext cx="1904821" cy="2834764"/>
        </p:xfrm>
        <a:graphic>
          <a:graphicData uri="http://schemas.openxmlformats.org/presentationml/2006/ole">
            <mc:AlternateContent xmlns:mc="http://schemas.openxmlformats.org/markup-compatibility/2006">
              <mc:Choice xmlns:v="urn:schemas-microsoft-com:vml" Requires="v">
                <p:oleObj spid="_x0000_s140512" name="Chart" r:id="rId37" imgW="1904821" imgH="2834764" progId="MSGraph.Chart.8">
                  <p:embed followColorScheme="full"/>
                </p:oleObj>
              </mc:Choice>
              <mc:Fallback>
                <p:oleObj name="Chart" r:id="rId37" imgW="1904821" imgH="2834764" progId="MSGraph.Chart.8">
                  <p:embed followColorScheme="full"/>
                  <p:pic>
                    <p:nvPicPr>
                      <p:cNvPr id="204" name="Object 203">
                        <a:extLst>
                          <a:ext uri="{FF2B5EF4-FFF2-40B4-BE49-F238E27FC236}">
                            <a16:creationId xmlns:a16="http://schemas.microsoft.com/office/drawing/2014/main" id="{B7DB2AFB-6762-4E46-B194-24FD52950D6F}"/>
                          </a:ext>
                        </a:extLst>
                      </p:cNvPr>
                      <p:cNvPicPr/>
                      <p:nvPr/>
                    </p:nvPicPr>
                    <p:blipFill>
                      <a:blip r:embed="rId38"/>
                      <a:stretch>
                        <a:fillRect/>
                      </a:stretch>
                    </p:blipFill>
                    <p:spPr>
                      <a:xfrm>
                        <a:off x="9220201" y="2590800"/>
                        <a:ext cx="1904821" cy="2834764"/>
                      </a:xfrm>
                      <a:prstGeom prst="rect">
                        <a:avLst/>
                      </a:prstGeom>
                    </p:spPr>
                  </p:pic>
                </p:oleObj>
              </mc:Fallback>
            </mc:AlternateContent>
          </a:graphicData>
        </a:graphic>
      </p:graphicFrame>
      <p:sp>
        <p:nvSpPr>
          <p:cNvPr id="207" name="Text Placeholder 2">
            <a:extLst>
              <a:ext uri="{FF2B5EF4-FFF2-40B4-BE49-F238E27FC236}">
                <a16:creationId xmlns:a16="http://schemas.microsoft.com/office/drawing/2014/main" id="{95C818E7-A0FD-4CD6-8600-10E6DBC26FA7}"/>
              </a:ext>
            </a:extLst>
          </p:cNvPr>
          <p:cNvSpPr>
            <a:spLocks noGrp="1"/>
          </p:cNvSpPr>
          <p:nvPr>
            <p:custDataLst>
              <p:tags r:id="rId11"/>
            </p:custDataLst>
          </p:nvPr>
        </p:nvSpPr>
        <p:spPr bwMode="gray">
          <a:xfrm>
            <a:off x="10004425" y="3800475"/>
            <a:ext cx="366713" cy="228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3813" tIns="0" rIns="23813"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3AC974B-6E20-4CD5-983F-FDD454B5965D}" type="datetime'''''''''''''''2''''''''''''''''''''''''''2''''5'''''''''">
              <a:rPr lang="es-CO" altLang="en-US" sz="1500">
                <a:solidFill>
                  <a:schemeClr val="bg1"/>
                </a:solidFill>
                <a:sym typeface="+mn-lt"/>
              </a:rPr>
              <a:pPr algn="ctr"/>
              <a:t>225</a:t>
            </a:fld>
            <a:endParaRPr lang="es-CO" sz="1500" dirty="0">
              <a:solidFill>
                <a:schemeClr val="bg1"/>
              </a:solidFill>
              <a:sym typeface="+mn-lt"/>
            </a:endParaRPr>
          </a:p>
        </p:txBody>
      </p:sp>
      <p:sp>
        <p:nvSpPr>
          <p:cNvPr id="206" name="Text Placeholder 2">
            <a:extLst>
              <a:ext uri="{FF2B5EF4-FFF2-40B4-BE49-F238E27FC236}">
                <a16:creationId xmlns:a16="http://schemas.microsoft.com/office/drawing/2014/main" id="{B7E6E4C7-1E41-477E-90C4-96ED409BF7EF}"/>
              </a:ext>
            </a:extLst>
          </p:cNvPr>
          <p:cNvSpPr>
            <a:spLocks noGrp="1"/>
          </p:cNvSpPr>
          <p:nvPr>
            <p:custDataLst>
              <p:tags r:id="rId12"/>
            </p:custDataLst>
          </p:nvPr>
        </p:nvSpPr>
        <p:spPr bwMode="auto">
          <a:xfrm>
            <a:off x="9704388" y="5399088"/>
            <a:ext cx="966788"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937EFAA-6CC5-46BE-A9BF-F38DF32D2F8F}" type="datetime'''S''istema'' ''de'' ''''''''p''ro''d''''u''''cci''ó''n'''''''">
              <a:rPr lang="es-CO" altLang="en-US" sz="1500"/>
              <a:pPr/>
              <a:t>Sistema de producción</a:t>
            </a:fld>
            <a:endParaRPr lang="es-CO" sz="1500" dirty="0">
              <a:sym typeface="+mn-lt"/>
            </a:endParaRPr>
          </a:p>
        </p:txBody>
      </p:sp>
      <p:sp>
        <p:nvSpPr>
          <p:cNvPr id="205" name="Text Placeholder 2">
            <a:extLst>
              <a:ext uri="{FF2B5EF4-FFF2-40B4-BE49-F238E27FC236}">
                <a16:creationId xmlns:a16="http://schemas.microsoft.com/office/drawing/2014/main" id="{A0FA6371-7A21-497E-99DC-8F0F0002CBB5}"/>
              </a:ext>
            </a:extLst>
          </p:cNvPr>
          <p:cNvSpPr>
            <a:spLocks noGrp="1"/>
          </p:cNvSpPr>
          <p:nvPr>
            <p:custDataLst>
              <p:tags r:id="rId13"/>
            </p:custDataLst>
          </p:nvPr>
        </p:nvSpPr>
        <p:spPr bwMode="gray">
          <a:xfrm>
            <a:off x="10004425" y="2541588"/>
            <a:ext cx="366713" cy="228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3813" tIns="0" rIns="23813"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09C6EED-BACF-4F95-88CF-E0AD9BD4F426}" type="datetime'''''''''''''''''''''''''''''''''''''''''''2''''50'''''">
              <a:rPr lang="es-CO" altLang="en-US" sz="1500"/>
              <a:pPr/>
              <a:t>250</a:t>
            </a:fld>
            <a:endParaRPr lang="es-CO" sz="1500" dirty="0">
              <a:sym typeface="+mn-lt"/>
            </a:endParaRPr>
          </a:p>
        </p:txBody>
      </p:sp>
      <p:graphicFrame>
        <p:nvGraphicFramePr>
          <p:cNvPr id="208" name="Object 207">
            <a:extLst>
              <a:ext uri="{FF2B5EF4-FFF2-40B4-BE49-F238E27FC236}">
                <a16:creationId xmlns:a16="http://schemas.microsoft.com/office/drawing/2014/main" id="{8BCA4AF8-FF48-4367-A118-0718F17BB8CB}"/>
              </a:ext>
            </a:extLst>
          </p:cNvPr>
          <p:cNvGraphicFramePr>
            <a:graphicFrameLocks/>
          </p:cNvGraphicFramePr>
          <p:nvPr>
            <p:custDataLst>
              <p:tags r:id="rId14"/>
            </p:custDataLst>
            <p:extLst>
              <p:ext uri="{D42A27DB-BD31-4B8C-83A1-F6EECF244321}">
                <p14:modId xmlns:p14="http://schemas.microsoft.com/office/powerpoint/2010/main" val="2964138442"/>
              </p:ext>
            </p:extLst>
          </p:nvPr>
        </p:nvGraphicFramePr>
        <p:xfrm>
          <a:off x="533400" y="3086100"/>
          <a:ext cx="3947339" cy="2339505"/>
        </p:xfrm>
        <a:graphic>
          <a:graphicData uri="http://schemas.openxmlformats.org/presentationml/2006/ole">
            <mc:AlternateContent xmlns:mc="http://schemas.openxmlformats.org/markup-compatibility/2006">
              <mc:Choice xmlns:v="urn:schemas-microsoft-com:vml" Requires="v">
                <p:oleObj spid="_x0000_s140513" name="Chart" r:id="rId39" imgW="3947339" imgH="2339505" progId="MSGraph.Chart.8">
                  <p:embed followColorScheme="full"/>
                </p:oleObj>
              </mc:Choice>
              <mc:Fallback>
                <p:oleObj name="Chart" r:id="rId39" imgW="3947339" imgH="2339505" progId="MSGraph.Chart.8">
                  <p:embed followColorScheme="full"/>
                  <p:pic>
                    <p:nvPicPr>
                      <p:cNvPr id="208" name="Object 207">
                        <a:extLst>
                          <a:ext uri="{FF2B5EF4-FFF2-40B4-BE49-F238E27FC236}">
                            <a16:creationId xmlns:a16="http://schemas.microsoft.com/office/drawing/2014/main" id="{8BCA4AF8-FF48-4367-A118-0718F17BB8CB}"/>
                          </a:ext>
                        </a:extLst>
                      </p:cNvPr>
                      <p:cNvPicPr/>
                      <p:nvPr/>
                    </p:nvPicPr>
                    <p:blipFill>
                      <a:blip r:embed="rId40"/>
                      <a:stretch>
                        <a:fillRect/>
                      </a:stretch>
                    </p:blipFill>
                    <p:spPr>
                      <a:xfrm>
                        <a:off x="533400" y="3086100"/>
                        <a:ext cx="3947339" cy="2339505"/>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44CE741D-BCF9-4C5D-B6EE-95B98A9D3E21}"/>
              </a:ext>
            </a:extLst>
          </p:cNvPr>
          <p:cNvCxnSpPr/>
          <p:nvPr>
            <p:custDataLst>
              <p:tags r:id="rId15"/>
            </p:custDataLst>
          </p:nvPr>
        </p:nvCxnSpPr>
        <p:spPr bwMode="gray">
          <a:xfrm>
            <a:off x="4343400" y="3494088"/>
            <a:ext cx="0" cy="585787"/>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2B4B744-87B9-4ED3-9DCB-7E36C163016D}"/>
              </a:ext>
            </a:extLst>
          </p:cNvPr>
          <p:cNvCxnSpPr/>
          <p:nvPr>
            <p:custDataLst>
              <p:tags r:id="rId16"/>
            </p:custDataLst>
          </p:nvPr>
        </p:nvCxnSpPr>
        <p:spPr bwMode="gray">
          <a:xfrm>
            <a:off x="4084638" y="4076700"/>
            <a:ext cx="315913"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68148DA-50B9-4AB4-A64E-1A97205D2C82}"/>
              </a:ext>
            </a:extLst>
          </p:cNvPr>
          <p:cNvCxnSpPr/>
          <p:nvPr>
            <p:custDataLst>
              <p:tags r:id="rId17"/>
            </p:custDataLst>
          </p:nvPr>
        </p:nvCxnSpPr>
        <p:spPr bwMode="gray">
          <a:xfrm>
            <a:off x="2287588" y="3497263"/>
            <a:ext cx="2112963"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10" name="Text Placeholder 2">
            <a:extLst>
              <a:ext uri="{FF2B5EF4-FFF2-40B4-BE49-F238E27FC236}">
                <a16:creationId xmlns:a16="http://schemas.microsoft.com/office/drawing/2014/main" id="{E5657751-AEF6-4B7A-B879-8D303EC2D2DA}"/>
              </a:ext>
            </a:extLst>
          </p:cNvPr>
          <p:cNvSpPr>
            <a:spLocks noGrp="1"/>
          </p:cNvSpPr>
          <p:nvPr>
            <p:custDataLst>
              <p:tags r:id="rId18"/>
            </p:custDataLst>
          </p:nvPr>
        </p:nvSpPr>
        <p:spPr bwMode="auto">
          <a:xfrm>
            <a:off x="1203325" y="5399088"/>
            <a:ext cx="871538"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F9FC4ED-87C3-4652-B637-42A1DE4FC261}" type="datetime'''''Eco''''''''''n''om''ía''''&#10;Gl''o''''ba''''''''l'''''''''">
              <a:rPr lang="es-CO" altLang="en-US" sz="1500"/>
              <a:pPr/>
              <a:t>Economía
Global</a:t>
            </a:fld>
            <a:endParaRPr lang="es-CO" sz="1500" dirty="0">
              <a:sym typeface="+mn-lt"/>
            </a:endParaRPr>
          </a:p>
        </p:txBody>
      </p:sp>
      <p:sp>
        <p:nvSpPr>
          <p:cNvPr id="211" name="Text Placeholder 2">
            <a:extLst>
              <a:ext uri="{FF2B5EF4-FFF2-40B4-BE49-F238E27FC236}">
                <a16:creationId xmlns:a16="http://schemas.microsoft.com/office/drawing/2014/main" id="{C40849B7-EDD6-450E-80AB-328497E89279}"/>
              </a:ext>
            </a:extLst>
          </p:cNvPr>
          <p:cNvSpPr>
            <a:spLocks noGrp="1"/>
          </p:cNvSpPr>
          <p:nvPr>
            <p:custDataLst>
              <p:tags r:id="rId19"/>
            </p:custDataLst>
          </p:nvPr>
        </p:nvSpPr>
        <p:spPr bwMode="auto">
          <a:xfrm>
            <a:off x="2833688" y="5399088"/>
            <a:ext cx="1211263"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1EB894B0-E008-4B82-88C7-880A3C5615CB}" type="datetime'In''du''stri''''a de ''la''&#10;''cons''truc''c''''i''ó''''n'''">
              <a:rPr lang="es-CO" altLang="en-US" sz="1500"/>
              <a:pPr/>
              <a:t>Industria de la
construcción</a:t>
            </a:fld>
            <a:endParaRPr lang="es-CO" sz="1500" dirty="0">
              <a:sym typeface="+mn-lt"/>
            </a:endParaRPr>
          </a:p>
        </p:txBody>
      </p:sp>
      <p:sp>
        <p:nvSpPr>
          <p:cNvPr id="212" name="Text Placeholder 2">
            <a:extLst>
              <a:ext uri="{FF2B5EF4-FFF2-40B4-BE49-F238E27FC236}">
                <a16:creationId xmlns:a16="http://schemas.microsoft.com/office/drawing/2014/main" id="{8EEA3E8C-63C4-40A9-B847-F5810CC5C94D}"/>
              </a:ext>
            </a:extLst>
          </p:cNvPr>
          <p:cNvSpPr>
            <a:spLocks noGrp="1"/>
          </p:cNvSpPr>
          <p:nvPr>
            <p:custDataLst>
              <p:tags r:id="rId20"/>
            </p:custDataLst>
          </p:nvPr>
        </p:nvSpPr>
        <p:spPr bwMode="gray">
          <a:xfrm>
            <a:off x="4027488" y="3157538"/>
            <a:ext cx="631825" cy="292100"/>
          </a:xfrm>
          <a:prstGeom prst="ellipse">
            <a:avLst/>
          </a:prstGeom>
          <a:solidFill>
            <a:schemeClr val="accent4"/>
          </a:solidFill>
          <a:ln w="9525">
            <a:solidFill>
              <a:schemeClr val="accent6"/>
            </a:solidFill>
          </a:ln>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lnSpc>
                <a:spcPct val="90000"/>
              </a:lnSpc>
            </a:pPr>
            <a:fld id="{113E69D8-E0A8-443E-A140-A284DF770020}" type="datetime'''''''''''''''''-''''''3''''''''''''2%'''''''''''">
              <a:rPr lang="es-CO" altLang="en-US" sz="1500" b="1">
                <a:solidFill>
                  <a:schemeClr val="bg1"/>
                </a:solidFill>
                <a:sym typeface="+mn-lt"/>
              </a:rPr>
              <a:pPr algn="ctr">
                <a:lnSpc>
                  <a:spcPct val="90000"/>
                </a:lnSpc>
              </a:pPr>
              <a:t>-32%</a:t>
            </a:fld>
            <a:endParaRPr lang="es-CO" sz="1500" b="1" dirty="0">
              <a:solidFill>
                <a:schemeClr val="bg1"/>
              </a:solidFill>
              <a:sym typeface="+mn-lt"/>
            </a:endParaRPr>
          </a:p>
        </p:txBody>
      </p:sp>
    </p:spTree>
    <p:extLst>
      <p:ext uri="{BB962C8B-B14F-4D97-AF65-F5344CB8AC3E}">
        <p14:creationId xmlns:p14="http://schemas.microsoft.com/office/powerpoint/2010/main" val="12288375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2A457-6E3F-4BCB-8DF3-BBDE18B5EA66}"/>
              </a:ext>
            </a:extLst>
          </p:cNvPr>
          <p:cNvSpPr>
            <a:spLocks noGrp="1"/>
          </p:cNvSpPr>
          <p:nvPr>
            <p:ph type="title"/>
          </p:nvPr>
        </p:nvSpPr>
        <p:spPr>
          <a:xfrm>
            <a:off x="739141" y="353604"/>
            <a:ext cx="9263842"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39738">
              <a:tabLst>
                <a:tab pos="450850" algn="l"/>
              </a:tabLst>
            </a:pPr>
            <a:r>
              <a:rPr lang="es-AR" dirty="0"/>
              <a:t>En Camacol, se hizo un esfuerzo conjunto sectorial para mapear los principales riesgos y entender las brechas de productividad e innovación entre las empresas</a:t>
            </a:r>
          </a:p>
        </p:txBody>
      </p:sp>
      <p:sp>
        <p:nvSpPr>
          <p:cNvPr id="5" name="Rectangle 24">
            <a:extLst>
              <a:ext uri="{FF2B5EF4-FFF2-40B4-BE49-F238E27FC236}">
                <a16:creationId xmlns:a16="http://schemas.microsoft.com/office/drawing/2014/main" id="{6CCB8A2D-DDAA-4DB7-A758-05C4693E03E9}"/>
              </a:ext>
            </a:extLst>
          </p:cNvPr>
          <p:cNvSpPr txBox="1">
            <a:spLocks/>
          </p:cNvSpPr>
          <p:nvPr/>
        </p:nvSpPr>
        <p:spPr>
          <a:xfrm>
            <a:off x="6735516" y="1502102"/>
            <a:ext cx="4816017" cy="1515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1"/>
              </a:spcBef>
            </a:pPr>
            <a:r>
              <a:rPr lang="es-ES_tradnl" dirty="0"/>
              <a:t>Análisis de la productividad, rentabilidad y eficiencia de las compañías frente a sus pares y de la industria de construcción nacional</a:t>
            </a:r>
          </a:p>
          <a:p>
            <a:pPr lvl="1">
              <a:spcBef>
                <a:spcPts val="301"/>
              </a:spcBef>
            </a:pPr>
            <a:r>
              <a:rPr lang="es-ES_tradnl" dirty="0"/>
              <a:t>Presentación de aprendizajes adicionales comparando con los </a:t>
            </a:r>
            <a:r>
              <a:rPr lang="es-ES_tradnl" i="1" dirty="0"/>
              <a:t>benchmarks</a:t>
            </a:r>
            <a:r>
              <a:rPr lang="es-ES_tradnl" dirty="0"/>
              <a:t> globales de las mejores prácticas de construcción</a:t>
            </a:r>
          </a:p>
        </p:txBody>
      </p:sp>
      <p:sp>
        <p:nvSpPr>
          <p:cNvPr id="6" name="TextBox 5">
            <a:extLst>
              <a:ext uri="{FF2B5EF4-FFF2-40B4-BE49-F238E27FC236}">
                <a16:creationId xmlns:a16="http://schemas.microsoft.com/office/drawing/2014/main" id="{EC39470A-82DB-4BF4-82EB-53360E634D66}"/>
              </a:ext>
            </a:extLst>
          </p:cNvPr>
          <p:cNvSpPr txBox="1">
            <a:spLocks/>
          </p:cNvSpPr>
          <p:nvPr>
            <p:custDataLst>
              <p:tags r:id="rId1"/>
            </p:custDataLst>
          </p:nvPr>
        </p:nvSpPr>
        <p:spPr>
          <a:xfrm>
            <a:off x="4849793" y="1484566"/>
            <a:ext cx="1732648" cy="1684304"/>
          </a:xfrm>
          <a:prstGeom prst="rect">
            <a:avLst/>
          </a:prstGeom>
          <a:solidFill>
            <a:schemeClr val="accent2"/>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lIns="0" rIns="72000" rtlCol="0" anchor="ctr">
            <a:noAutofit/>
          </a:bodyPr>
          <a:lstStyle>
            <a:defPPr>
              <a:defRPr lang="en-US"/>
            </a:defPPr>
            <a:lvl1pPr marL="182563">
              <a:defRPr sz="11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s-ES_tradnl" sz="1600" b="1" dirty="0"/>
              <a:t>Reporte de productividad a nivel sector</a:t>
            </a:r>
          </a:p>
          <a:p>
            <a:endParaRPr lang="es-ES_tradnl" sz="1600" b="1" dirty="0"/>
          </a:p>
          <a:p>
            <a:endParaRPr lang="es-ES_tradnl" sz="1600" b="1" dirty="0"/>
          </a:p>
        </p:txBody>
      </p:sp>
      <p:sp>
        <p:nvSpPr>
          <p:cNvPr id="7" name="TextBox 6">
            <a:extLst>
              <a:ext uri="{FF2B5EF4-FFF2-40B4-BE49-F238E27FC236}">
                <a16:creationId xmlns:a16="http://schemas.microsoft.com/office/drawing/2014/main" id="{5358971E-30D0-4D55-AED3-CAFFBB781AD2}"/>
              </a:ext>
            </a:extLst>
          </p:cNvPr>
          <p:cNvSpPr txBox="1">
            <a:spLocks/>
          </p:cNvSpPr>
          <p:nvPr>
            <p:custDataLst>
              <p:tags r:id="rId2"/>
            </p:custDataLst>
          </p:nvPr>
        </p:nvSpPr>
        <p:spPr>
          <a:xfrm>
            <a:off x="4849793" y="3490734"/>
            <a:ext cx="1732648" cy="2485297"/>
          </a:xfrm>
          <a:prstGeom prst="rect">
            <a:avLst/>
          </a:prstGeom>
          <a:solidFill>
            <a:schemeClr val="accent2"/>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lIns="0" rIns="72000" rtlCol="0" anchor="ctr">
            <a:noAutofit/>
          </a:bodyPr>
          <a:lstStyle>
            <a:defPPr>
              <a:defRPr lang="en-US"/>
            </a:defPPr>
            <a:lvl1pPr marL="182563">
              <a:defRPr sz="11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s-ES_tradnl" sz="1600" b="1" dirty="0"/>
              <a:t>Reporte de gestión de riesgos a nivel sector</a:t>
            </a:r>
          </a:p>
          <a:p>
            <a:endParaRPr lang="es-ES_tradnl" sz="1600" b="1" dirty="0"/>
          </a:p>
          <a:p>
            <a:endParaRPr lang="es-ES_tradnl" sz="1600" b="1" dirty="0"/>
          </a:p>
        </p:txBody>
      </p:sp>
      <p:sp>
        <p:nvSpPr>
          <p:cNvPr id="8" name="Oval 7">
            <a:extLst>
              <a:ext uri="{FF2B5EF4-FFF2-40B4-BE49-F238E27FC236}">
                <a16:creationId xmlns:a16="http://schemas.microsoft.com/office/drawing/2014/main" id="{D39F1CBA-E81D-40C1-A75A-EC269EBB2C96}"/>
              </a:ext>
            </a:extLst>
          </p:cNvPr>
          <p:cNvSpPr>
            <a:spLocks/>
          </p:cNvSpPr>
          <p:nvPr/>
        </p:nvSpPr>
        <p:spPr>
          <a:xfrm>
            <a:off x="4696718" y="1376195"/>
            <a:ext cx="264777" cy="26333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ES_tradnl" b="1" dirty="0">
                <a:solidFill>
                  <a:schemeClr val="bg1"/>
                </a:solidFill>
              </a:rPr>
              <a:t>1</a:t>
            </a:r>
          </a:p>
        </p:txBody>
      </p:sp>
      <p:sp>
        <p:nvSpPr>
          <p:cNvPr id="9" name="Oval 8">
            <a:extLst>
              <a:ext uri="{FF2B5EF4-FFF2-40B4-BE49-F238E27FC236}">
                <a16:creationId xmlns:a16="http://schemas.microsoft.com/office/drawing/2014/main" id="{BAEE0EFE-729E-4643-A0BE-9ECEA2F9B229}"/>
              </a:ext>
            </a:extLst>
          </p:cNvPr>
          <p:cNvSpPr>
            <a:spLocks/>
          </p:cNvSpPr>
          <p:nvPr/>
        </p:nvSpPr>
        <p:spPr>
          <a:xfrm>
            <a:off x="4696718" y="3359043"/>
            <a:ext cx="264777" cy="263337"/>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ES_tradnl" b="1" dirty="0">
                <a:solidFill>
                  <a:schemeClr val="bg1"/>
                </a:solidFill>
              </a:rPr>
              <a:t>2</a:t>
            </a:r>
          </a:p>
        </p:txBody>
      </p:sp>
      <p:sp>
        <p:nvSpPr>
          <p:cNvPr id="10" name="Freeform 247">
            <a:extLst>
              <a:ext uri="{FF2B5EF4-FFF2-40B4-BE49-F238E27FC236}">
                <a16:creationId xmlns:a16="http://schemas.microsoft.com/office/drawing/2014/main" id="{9F6C0958-C57F-45CE-AE22-9E5AA1B5FE85}"/>
              </a:ext>
            </a:extLst>
          </p:cNvPr>
          <p:cNvSpPr>
            <a:spLocks noEditPoints="1"/>
          </p:cNvSpPr>
          <p:nvPr/>
        </p:nvSpPr>
        <p:spPr bwMode="auto">
          <a:xfrm>
            <a:off x="6168786" y="2716097"/>
            <a:ext cx="347760" cy="350837"/>
          </a:xfrm>
          <a:custGeom>
            <a:avLst/>
            <a:gdLst>
              <a:gd name="T0" fmla="*/ 32 w 102"/>
              <a:gd name="T1" fmla="*/ 37 h 103"/>
              <a:gd name="T2" fmla="*/ 37 w 102"/>
              <a:gd name="T3" fmla="*/ 35 h 103"/>
              <a:gd name="T4" fmla="*/ 50 w 102"/>
              <a:gd name="T5" fmla="*/ 43 h 103"/>
              <a:gd name="T6" fmla="*/ 50 w 102"/>
              <a:gd name="T7" fmla="*/ 44 h 103"/>
              <a:gd name="T8" fmla="*/ 59 w 102"/>
              <a:gd name="T9" fmla="*/ 52 h 103"/>
              <a:gd name="T10" fmla="*/ 67 w 102"/>
              <a:gd name="T11" fmla="*/ 44 h 103"/>
              <a:gd name="T12" fmla="*/ 67 w 102"/>
              <a:gd name="T13" fmla="*/ 41 h 103"/>
              <a:gd name="T14" fmla="*/ 82 w 102"/>
              <a:gd name="T15" fmla="*/ 24 h 103"/>
              <a:gd name="T16" fmla="*/ 91 w 102"/>
              <a:gd name="T17" fmla="*/ 32 h 103"/>
              <a:gd name="T18" fmla="*/ 97 w 102"/>
              <a:gd name="T19" fmla="*/ 3 h 103"/>
              <a:gd name="T20" fmla="*/ 68 w 102"/>
              <a:gd name="T21" fmla="*/ 12 h 103"/>
              <a:gd name="T22" fmla="*/ 77 w 102"/>
              <a:gd name="T23" fmla="*/ 19 h 103"/>
              <a:gd name="T24" fmla="*/ 61 w 102"/>
              <a:gd name="T25" fmla="*/ 36 h 103"/>
              <a:gd name="T26" fmla="*/ 59 w 102"/>
              <a:gd name="T27" fmla="*/ 36 h 103"/>
              <a:gd name="T28" fmla="*/ 54 w 102"/>
              <a:gd name="T29" fmla="*/ 37 h 103"/>
              <a:gd name="T30" fmla="*/ 40 w 102"/>
              <a:gd name="T31" fmla="*/ 29 h 103"/>
              <a:gd name="T32" fmla="*/ 40 w 102"/>
              <a:gd name="T33" fmla="*/ 28 h 103"/>
              <a:gd name="T34" fmla="*/ 32 w 102"/>
              <a:gd name="T35" fmla="*/ 20 h 103"/>
              <a:gd name="T36" fmla="*/ 24 w 102"/>
              <a:gd name="T37" fmla="*/ 28 h 103"/>
              <a:gd name="T38" fmla="*/ 24 w 102"/>
              <a:gd name="T39" fmla="*/ 31 h 103"/>
              <a:gd name="T40" fmla="*/ 13 w 102"/>
              <a:gd name="T41" fmla="*/ 41 h 103"/>
              <a:gd name="T42" fmla="*/ 13 w 102"/>
              <a:gd name="T43" fmla="*/ 51 h 103"/>
              <a:gd name="T44" fmla="*/ 29 w 102"/>
              <a:gd name="T45" fmla="*/ 36 h 103"/>
              <a:gd name="T46" fmla="*/ 32 w 102"/>
              <a:gd name="T47" fmla="*/ 37 h 103"/>
              <a:gd name="T48" fmla="*/ 32 w 102"/>
              <a:gd name="T49" fmla="*/ 67 h 103"/>
              <a:gd name="T50" fmla="*/ 38 w 102"/>
              <a:gd name="T51" fmla="*/ 64 h 103"/>
              <a:gd name="T52" fmla="*/ 62 w 102"/>
              <a:gd name="T53" fmla="*/ 73 h 103"/>
              <a:gd name="T54" fmla="*/ 70 w 102"/>
              <a:gd name="T55" fmla="*/ 81 h 103"/>
              <a:gd name="T56" fmla="*/ 79 w 102"/>
              <a:gd name="T57" fmla="*/ 73 h 103"/>
              <a:gd name="T58" fmla="*/ 78 w 102"/>
              <a:gd name="T59" fmla="*/ 69 h 103"/>
              <a:gd name="T60" fmla="*/ 92 w 102"/>
              <a:gd name="T61" fmla="*/ 53 h 103"/>
              <a:gd name="T62" fmla="*/ 98 w 102"/>
              <a:gd name="T63" fmla="*/ 57 h 103"/>
              <a:gd name="T64" fmla="*/ 100 w 102"/>
              <a:gd name="T65" fmla="*/ 37 h 103"/>
              <a:gd name="T66" fmla="*/ 82 w 102"/>
              <a:gd name="T67" fmla="*/ 45 h 103"/>
              <a:gd name="T68" fmla="*/ 86 w 102"/>
              <a:gd name="T69" fmla="*/ 49 h 103"/>
              <a:gd name="T70" fmla="*/ 73 w 102"/>
              <a:gd name="T71" fmla="*/ 64 h 103"/>
              <a:gd name="T72" fmla="*/ 70 w 102"/>
              <a:gd name="T73" fmla="*/ 64 h 103"/>
              <a:gd name="T74" fmla="*/ 65 w 102"/>
              <a:gd name="T75" fmla="*/ 66 h 103"/>
              <a:gd name="T76" fmla="*/ 40 w 102"/>
              <a:gd name="T77" fmla="*/ 57 h 103"/>
              <a:gd name="T78" fmla="*/ 32 w 102"/>
              <a:gd name="T79" fmla="*/ 50 h 103"/>
              <a:gd name="T80" fmla="*/ 24 w 102"/>
              <a:gd name="T81" fmla="*/ 58 h 103"/>
              <a:gd name="T82" fmla="*/ 24 w 102"/>
              <a:gd name="T83" fmla="*/ 59 h 103"/>
              <a:gd name="T84" fmla="*/ 13 w 102"/>
              <a:gd name="T85" fmla="*/ 66 h 103"/>
              <a:gd name="T86" fmla="*/ 13 w 102"/>
              <a:gd name="T87" fmla="*/ 75 h 103"/>
              <a:gd name="T88" fmla="*/ 28 w 102"/>
              <a:gd name="T89" fmla="*/ 65 h 103"/>
              <a:gd name="T90" fmla="*/ 32 w 102"/>
              <a:gd name="T91" fmla="*/ 67 h 103"/>
              <a:gd name="T92" fmla="*/ 7 w 102"/>
              <a:gd name="T93" fmla="*/ 96 h 103"/>
              <a:gd name="T94" fmla="*/ 7 w 102"/>
              <a:gd name="T95" fmla="*/ 96 h 103"/>
              <a:gd name="T96" fmla="*/ 7 w 102"/>
              <a:gd name="T97" fmla="*/ 96 h 103"/>
              <a:gd name="T98" fmla="*/ 7 w 102"/>
              <a:gd name="T99" fmla="*/ 0 h 103"/>
              <a:gd name="T100" fmla="*/ 0 w 102"/>
              <a:gd name="T101" fmla="*/ 0 h 103"/>
              <a:gd name="T102" fmla="*/ 0 w 102"/>
              <a:gd name="T103" fmla="*/ 103 h 103"/>
              <a:gd name="T104" fmla="*/ 102 w 102"/>
              <a:gd name="T105" fmla="*/ 103 h 103"/>
              <a:gd name="T106" fmla="*/ 102 w 102"/>
              <a:gd name="T107" fmla="*/ 96 h 103"/>
              <a:gd name="T108" fmla="*/ 7 w 102"/>
              <a:gd name="T109" fmla="*/ 9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103">
                <a:moveTo>
                  <a:pt x="32" y="37"/>
                </a:moveTo>
                <a:cubicBezTo>
                  <a:pt x="34" y="37"/>
                  <a:pt x="36" y="36"/>
                  <a:pt x="37" y="35"/>
                </a:cubicBezTo>
                <a:cubicBezTo>
                  <a:pt x="50" y="43"/>
                  <a:pt x="50" y="43"/>
                  <a:pt x="50" y="43"/>
                </a:cubicBezTo>
                <a:cubicBezTo>
                  <a:pt x="50" y="44"/>
                  <a:pt x="50" y="44"/>
                  <a:pt x="50" y="44"/>
                </a:cubicBezTo>
                <a:cubicBezTo>
                  <a:pt x="50" y="49"/>
                  <a:pt x="54" y="52"/>
                  <a:pt x="59" y="52"/>
                </a:cubicBezTo>
                <a:cubicBezTo>
                  <a:pt x="63" y="52"/>
                  <a:pt x="67" y="49"/>
                  <a:pt x="67" y="44"/>
                </a:cubicBezTo>
                <a:cubicBezTo>
                  <a:pt x="67" y="43"/>
                  <a:pt x="67" y="42"/>
                  <a:pt x="67" y="41"/>
                </a:cubicBezTo>
                <a:cubicBezTo>
                  <a:pt x="82" y="24"/>
                  <a:pt x="82" y="24"/>
                  <a:pt x="82" y="24"/>
                </a:cubicBezTo>
                <a:cubicBezTo>
                  <a:pt x="91" y="32"/>
                  <a:pt x="91" y="32"/>
                  <a:pt x="91" y="32"/>
                </a:cubicBezTo>
                <a:cubicBezTo>
                  <a:pt x="97" y="3"/>
                  <a:pt x="97" y="3"/>
                  <a:pt x="97" y="3"/>
                </a:cubicBezTo>
                <a:cubicBezTo>
                  <a:pt x="68" y="12"/>
                  <a:pt x="68" y="12"/>
                  <a:pt x="68" y="12"/>
                </a:cubicBezTo>
                <a:cubicBezTo>
                  <a:pt x="77" y="19"/>
                  <a:pt x="77" y="19"/>
                  <a:pt x="77" y="19"/>
                </a:cubicBezTo>
                <a:cubicBezTo>
                  <a:pt x="61" y="36"/>
                  <a:pt x="61" y="36"/>
                  <a:pt x="61" y="36"/>
                </a:cubicBezTo>
                <a:cubicBezTo>
                  <a:pt x="60" y="36"/>
                  <a:pt x="60" y="36"/>
                  <a:pt x="59" y="36"/>
                </a:cubicBezTo>
                <a:cubicBezTo>
                  <a:pt x="57" y="36"/>
                  <a:pt x="55" y="36"/>
                  <a:pt x="54" y="37"/>
                </a:cubicBezTo>
                <a:cubicBezTo>
                  <a:pt x="40" y="29"/>
                  <a:pt x="40" y="29"/>
                  <a:pt x="40" y="29"/>
                </a:cubicBezTo>
                <a:cubicBezTo>
                  <a:pt x="40" y="29"/>
                  <a:pt x="40" y="28"/>
                  <a:pt x="40" y="28"/>
                </a:cubicBezTo>
                <a:cubicBezTo>
                  <a:pt x="40" y="24"/>
                  <a:pt x="37" y="20"/>
                  <a:pt x="32" y="20"/>
                </a:cubicBezTo>
                <a:cubicBezTo>
                  <a:pt x="27" y="20"/>
                  <a:pt x="24" y="24"/>
                  <a:pt x="24" y="28"/>
                </a:cubicBezTo>
                <a:cubicBezTo>
                  <a:pt x="24" y="29"/>
                  <a:pt x="24" y="30"/>
                  <a:pt x="24" y="31"/>
                </a:cubicBezTo>
                <a:cubicBezTo>
                  <a:pt x="13" y="41"/>
                  <a:pt x="13" y="41"/>
                  <a:pt x="13" y="41"/>
                </a:cubicBezTo>
                <a:cubicBezTo>
                  <a:pt x="13" y="51"/>
                  <a:pt x="13" y="51"/>
                  <a:pt x="13" y="51"/>
                </a:cubicBezTo>
                <a:cubicBezTo>
                  <a:pt x="29" y="36"/>
                  <a:pt x="29" y="36"/>
                  <a:pt x="29" y="36"/>
                </a:cubicBezTo>
                <a:cubicBezTo>
                  <a:pt x="30" y="37"/>
                  <a:pt x="31" y="37"/>
                  <a:pt x="32" y="37"/>
                </a:cubicBezTo>
                <a:close/>
                <a:moveTo>
                  <a:pt x="32" y="67"/>
                </a:moveTo>
                <a:cubicBezTo>
                  <a:pt x="34" y="67"/>
                  <a:pt x="37" y="66"/>
                  <a:pt x="38" y="64"/>
                </a:cubicBezTo>
                <a:cubicBezTo>
                  <a:pt x="62" y="73"/>
                  <a:pt x="62" y="73"/>
                  <a:pt x="62" y="73"/>
                </a:cubicBezTo>
                <a:cubicBezTo>
                  <a:pt x="63" y="78"/>
                  <a:pt x="66" y="81"/>
                  <a:pt x="70" y="81"/>
                </a:cubicBezTo>
                <a:cubicBezTo>
                  <a:pt x="75" y="81"/>
                  <a:pt x="79" y="77"/>
                  <a:pt x="79" y="73"/>
                </a:cubicBezTo>
                <a:cubicBezTo>
                  <a:pt x="79" y="71"/>
                  <a:pt x="79" y="70"/>
                  <a:pt x="78" y="69"/>
                </a:cubicBezTo>
                <a:cubicBezTo>
                  <a:pt x="92" y="53"/>
                  <a:pt x="92" y="53"/>
                  <a:pt x="92" y="53"/>
                </a:cubicBezTo>
                <a:cubicBezTo>
                  <a:pt x="98" y="57"/>
                  <a:pt x="98" y="57"/>
                  <a:pt x="98" y="57"/>
                </a:cubicBezTo>
                <a:cubicBezTo>
                  <a:pt x="100" y="37"/>
                  <a:pt x="100" y="37"/>
                  <a:pt x="100" y="37"/>
                </a:cubicBezTo>
                <a:cubicBezTo>
                  <a:pt x="82" y="45"/>
                  <a:pt x="82" y="45"/>
                  <a:pt x="82" y="45"/>
                </a:cubicBezTo>
                <a:cubicBezTo>
                  <a:pt x="86" y="49"/>
                  <a:pt x="86" y="49"/>
                  <a:pt x="86" y="49"/>
                </a:cubicBezTo>
                <a:cubicBezTo>
                  <a:pt x="73" y="64"/>
                  <a:pt x="73" y="64"/>
                  <a:pt x="73" y="64"/>
                </a:cubicBezTo>
                <a:cubicBezTo>
                  <a:pt x="72" y="64"/>
                  <a:pt x="71" y="64"/>
                  <a:pt x="70" y="64"/>
                </a:cubicBezTo>
                <a:cubicBezTo>
                  <a:pt x="68" y="64"/>
                  <a:pt x="66" y="65"/>
                  <a:pt x="65" y="66"/>
                </a:cubicBezTo>
                <a:cubicBezTo>
                  <a:pt x="40" y="57"/>
                  <a:pt x="40" y="57"/>
                  <a:pt x="40" y="57"/>
                </a:cubicBezTo>
                <a:cubicBezTo>
                  <a:pt x="40" y="53"/>
                  <a:pt x="36" y="50"/>
                  <a:pt x="32" y="50"/>
                </a:cubicBezTo>
                <a:cubicBezTo>
                  <a:pt x="27" y="50"/>
                  <a:pt x="24" y="54"/>
                  <a:pt x="24" y="58"/>
                </a:cubicBezTo>
                <a:cubicBezTo>
                  <a:pt x="24" y="59"/>
                  <a:pt x="24" y="59"/>
                  <a:pt x="24" y="59"/>
                </a:cubicBezTo>
                <a:cubicBezTo>
                  <a:pt x="13" y="66"/>
                  <a:pt x="13" y="66"/>
                  <a:pt x="13" y="66"/>
                </a:cubicBezTo>
                <a:cubicBezTo>
                  <a:pt x="13" y="75"/>
                  <a:pt x="13" y="75"/>
                  <a:pt x="13" y="75"/>
                </a:cubicBezTo>
                <a:cubicBezTo>
                  <a:pt x="28" y="65"/>
                  <a:pt x="28" y="65"/>
                  <a:pt x="28" y="65"/>
                </a:cubicBezTo>
                <a:cubicBezTo>
                  <a:pt x="29" y="66"/>
                  <a:pt x="30" y="67"/>
                  <a:pt x="32" y="67"/>
                </a:cubicBezTo>
                <a:close/>
                <a:moveTo>
                  <a:pt x="7" y="96"/>
                </a:moveTo>
                <a:cubicBezTo>
                  <a:pt x="7" y="96"/>
                  <a:pt x="7" y="96"/>
                  <a:pt x="7" y="96"/>
                </a:cubicBezTo>
                <a:cubicBezTo>
                  <a:pt x="7" y="96"/>
                  <a:pt x="7" y="96"/>
                  <a:pt x="7" y="96"/>
                </a:cubicBezTo>
                <a:cubicBezTo>
                  <a:pt x="7" y="0"/>
                  <a:pt x="7" y="0"/>
                  <a:pt x="7" y="0"/>
                </a:cubicBezTo>
                <a:cubicBezTo>
                  <a:pt x="0" y="0"/>
                  <a:pt x="0" y="0"/>
                  <a:pt x="0" y="0"/>
                </a:cubicBezTo>
                <a:cubicBezTo>
                  <a:pt x="0" y="103"/>
                  <a:pt x="0" y="103"/>
                  <a:pt x="0" y="103"/>
                </a:cubicBezTo>
                <a:cubicBezTo>
                  <a:pt x="102" y="103"/>
                  <a:pt x="102" y="103"/>
                  <a:pt x="102" y="103"/>
                </a:cubicBezTo>
                <a:cubicBezTo>
                  <a:pt x="102" y="96"/>
                  <a:pt x="102" y="96"/>
                  <a:pt x="102" y="96"/>
                </a:cubicBezTo>
                <a:lnTo>
                  <a:pt x="7" y="96"/>
                </a:lnTo>
                <a:close/>
              </a:path>
            </a:pathLst>
          </a:custGeom>
          <a:solidFill>
            <a:schemeClr val="bg1"/>
          </a:solidFill>
          <a:ln>
            <a:noFill/>
          </a:ln>
        </p:spPr>
        <p:txBody>
          <a:bodyPr vert="horz" wrap="square" lIns="91440" tIns="45719" rIns="91440" bIns="45719" numCol="1" anchor="t" anchorCtr="0" compatLnSpc="1">
            <a:prstTxWarp prst="textNoShape">
              <a:avLst/>
            </a:prstTxWarp>
          </a:bodyPr>
          <a:lstStyle/>
          <a:p>
            <a:endParaRPr lang="es-ES_tradnl" sz="1400" dirty="0">
              <a:latin typeface="+mn-lt"/>
            </a:endParaRPr>
          </a:p>
        </p:txBody>
      </p:sp>
      <p:pic>
        <p:nvPicPr>
          <p:cNvPr id="11" name="Picture 10">
            <a:extLst>
              <a:ext uri="{FF2B5EF4-FFF2-40B4-BE49-F238E27FC236}">
                <a16:creationId xmlns:a16="http://schemas.microsoft.com/office/drawing/2014/main" id="{DD67D695-1167-4251-A4E2-4CAA68AF9260}"/>
              </a:ext>
            </a:extLst>
          </p:cNvPr>
          <p:cNvPicPr>
            <a:picLocks noChangeAspect="1"/>
          </p:cNvPicPr>
          <p:nvPr/>
        </p:nvPicPr>
        <p:blipFill>
          <a:blip r:embed="rId5">
            <a:duotone>
              <a:prstClr val="black"/>
              <a:schemeClr val="accent4">
                <a:tint val="45000"/>
                <a:satMod val="400000"/>
              </a:schemeClr>
            </a:duotone>
            <a:lum bright="100000"/>
          </a:blip>
          <a:stretch>
            <a:fillRect/>
          </a:stretch>
        </p:blipFill>
        <p:spPr>
          <a:xfrm>
            <a:off x="5998465" y="5372453"/>
            <a:ext cx="545454" cy="496731"/>
          </a:xfrm>
          <a:prstGeom prst="rect">
            <a:avLst/>
          </a:prstGeom>
        </p:spPr>
      </p:pic>
      <p:sp>
        <p:nvSpPr>
          <p:cNvPr id="12" name="Rectangle 24">
            <a:extLst>
              <a:ext uri="{FF2B5EF4-FFF2-40B4-BE49-F238E27FC236}">
                <a16:creationId xmlns:a16="http://schemas.microsoft.com/office/drawing/2014/main" id="{140BC2EC-1691-4069-8BCE-713D6E8922BA}"/>
              </a:ext>
            </a:extLst>
          </p:cNvPr>
          <p:cNvSpPr txBox="1">
            <a:spLocks/>
          </p:cNvSpPr>
          <p:nvPr/>
        </p:nvSpPr>
        <p:spPr>
          <a:xfrm>
            <a:off x="6735516" y="3490733"/>
            <a:ext cx="4816017" cy="23314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1"/>
              </a:spcBef>
            </a:pPr>
            <a:r>
              <a:rPr lang="es-ES_tradnl" dirty="0"/>
              <a:t>Enfoque más proactivo y sofisticado en gestión de riesgo a nivel del gremio y a nivel de la compañía </a:t>
            </a:r>
          </a:p>
          <a:p>
            <a:pPr lvl="1">
              <a:spcBef>
                <a:spcPts val="301"/>
              </a:spcBef>
            </a:pPr>
            <a:r>
              <a:rPr lang="es-ES_tradnl" dirty="0"/>
              <a:t>Identificación, clasificación y priorización de riesgos externos y riesgos a nivel de la industria y de la compañías</a:t>
            </a:r>
          </a:p>
          <a:p>
            <a:pPr lvl="1">
              <a:spcBef>
                <a:spcPts val="301"/>
              </a:spcBef>
            </a:pPr>
            <a:r>
              <a:rPr lang="es-ES_tradnl" dirty="0"/>
              <a:t>Elaboración de planes de mitigación, para los riesgos priorizados</a:t>
            </a:r>
          </a:p>
          <a:p>
            <a:pPr lvl="1">
              <a:spcBef>
                <a:spcPts val="301"/>
              </a:spcBef>
            </a:pPr>
            <a:r>
              <a:rPr lang="es-ES_tradnl" dirty="0"/>
              <a:t>Recomendaciones del rol de Camacol en la gestión de los riesgos a nivel de industria</a:t>
            </a:r>
          </a:p>
        </p:txBody>
      </p:sp>
      <p:pic>
        <p:nvPicPr>
          <p:cNvPr id="13" name="Picture 12">
            <a:extLst>
              <a:ext uri="{FF2B5EF4-FFF2-40B4-BE49-F238E27FC236}">
                <a16:creationId xmlns:a16="http://schemas.microsoft.com/office/drawing/2014/main" id="{16F457B1-C248-4506-8D50-E87586FB8E26}"/>
              </a:ext>
            </a:extLst>
          </p:cNvPr>
          <p:cNvPicPr>
            <a:picLocks noChangeAspect="1"/>
          </p:cNvPicPr>
          <p:nvPr/>
        </p:nvPicPr>
        <p:blipFill>
          <a:blip r:embed="rId6"/>
          <a:stretch>
            <a:fillRect/>
          </a:stretch>
        </p:blipFill>
        <p:spPr>
          <a:xfrm>
            <a:off x="769201" y="2951474"/>
            <a:ext cx="3476190" cy="1314286"/>
          </a:xfrm>
          <a:prstGeom prst="rect">
            <a:avLst/>
          </a:prstGeom>
        </p:spPr>
      </p:pic>
      <p:sp>
        <p:nvSpPr>
          <p:cNvPr id="15" name="Oval 14">
            <a:extLst>
              <a:ext uri="{FF2B5EF4-FFF2-40B4-BE49-F238E27FC236}">
                <a16:creationId xmlns:a16="http://schemas.microsoft.com/office/drawing/2014/main" id="{927FF672-8F60-46C1-974D-0A230026F0A1}"/>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spTree>
    <p:extLst>
      <p:ext uri="{BB962C8B-B14F-4D97-AF65-F5344CB8AC3E}">
        <p14:creationId xmlns:p14="http://schemas.microsoft.com/office/powerpoint/2010/main" val="3232223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1767100669"/>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33181" name="think-cell Slide" r:id="rId7" imgW="338" imgH="338" progId="TCLayout.ActiveDocument.1">
                  <p:embed/>
                </p:oleObj>
              </mc:Choice>
              <mc:Fallback>
                <p:oleObj name="think-cell Slide" r:id="rId7" imgW="338" imgH="338" progId="TCLayout.ActiveDocument.1">
                  <p:embed/>
                  <p:pic>
                    <p:nvPicPr>
                      <p:cNvPr id="30" name="Object 29" hidden="1"/>
                      <p:cNvPicPr/>
                      <p:nvPr/>
                    </p:nvPicPr>
                    <p:blipFill>
                      <a:blip r:embed="rId8"/>
                      <a:stretch>
                        <a:fillRect/>
                      </a:stretch>
                    </p:blipFill>
                    <p:spPr>
                      <a:xfrm>
                        <a:off x="1495426" y="1589"/>
                        <a:ext cx="1586" cy="1586"/>
                      </a:xfrm>
                      <a:prstGeom prst="rect">
                        <a:avLst/>
                      </a:prstGeom>
                    </p:spPr>
                  </p:pic>
                </p:oleObj>
              </mc:Fallback>
            </mc:AlternateContent>
          </a:graphicData>
        </a:graphic>
      </p:graphicFrame>
      <p:sp>
        <p:nvSpPr>
          <p:cNvPr id="69" name="Rectangle 2"/>
          <p:cNvSpPr>
            <a:spLocks noChangeArrowheads="1"/>
          </p:cNvSpPr>
          <p:nvPr/>
        </p:nvSpPr>
        <p:spPr bwMode="gray">
          <a:xfrm>
            <a:off x="590309" y="1263395"/>
            <a:ext cx="10984375" cy="471745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p>
            <a:pPr algn="ctr"/>
            <a:endParaRPr lang="es-ES_tradnl" sz="1400" dirty="0"/>
          </a:p>
        </p:txBody>
      </p:sp>
      <p:sp>
        <p:nvSpPr>
          <p:cNvPr id="2" name="Title 1"/>
          <p:cNvSpPr>
            <a:spLocks noGrp="1"/>
          </p:cNvSpPr>
          <p:nvPr>
            <p:ph type="title"/>
          </p:nvPr>
        </p:nvSpPr>
        <p:spPr>
          <a:xfrm>
            <a:off x="739140" y="353604"/>
            <a:ext cx="10401755"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39738"/>
            <a:r>
              <a:rPr lang="es-ES_tradnl" dirty="0"/>
              <a:t>Se envió una encuesta para que las compañías auto-evaluaran más </a:t>
            </a:r>
            <a:br>
              <a:rPr lang="es-ES_tradnl" dirty="0"/>
            </a:br>
            <a:r>
              <a:rPr lang="es-ES_tradnl" dirty="0"/>
              <a:t>de 100 declaraciones de mejores prácticas en 9 dimensiones</a:t>
            </a:r>
          </a:p>
        </p:txBody>
      </p:sp>
      <p:sp>
        <p:nvSpPr>
          <p:cNvPr id="5" name="1. On-page tracker"/>
          <p:cNvSpPr>
            <a:spLocks noChangeArrowheads="1"/>
          </p:cNvSpPr>
          <p:nvPr/>
        </p:nvSpPr>
        <p:spPr bwMode="gray">
          <a:xfrm>
            <a:off x="739141" y="75764"/>
            <a:ext cx="231826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39738"/>
            <a:r>
              <a:rPr lang="es-ES_tradnl" sz="800" cap="all" dirty="0">
                <a:solidFill>
                  <a:schemeClr val="accent6"/>
                </a:solidFill>
                <a:latin typeface="+mn-lt"/>
              </a:rPr>
              <a:t>ENCUESTA DE MEJORES PRÁCTICAS</a:t>
            </a:r>
          </a:p>
        </p:txBody>
      </p:sp>
      <p:grpSp>
        <p:nvGrpSpPr>
          <p:cNvPr id="7" name="Group 6"/>
          <p:cNvGrpSpPr/>
          <p:nvPr/>
        </p:nvGrpSpPr>
        <p:grpSpPr>
          <a:xfrm>
            <a:off x="8018844" y="1058344"/>
            <a:ext cx="3588978" cy="144000"/>
            <a:chOff x="5038795" y="515576"/>
            <a:chExt cx="3588979" cy="144000"/>
          </a:xfrm>
        </p:grpSpPr>
        <p:sp>
          <p:nvSpPr>
            <p:cNvPr id="66" name="RectangleLegend1"/>
            <p:cNvSpPr>
              <a:spLocks noChangeArrowheads="1"/>
            </p:cNvSpPr>
            <p:nvPr/>
          </p:nvSpPr>
          <p:spPr bwMode="gray">
            <a:xfrm>
              <a:off x="5038795" y="515576"/>
              <a:ext cx="144000" cy="144000"/>
            </a:xfrm>
            <a:prstGeom prst="rect">
              <a:avLst/>
            </a:prstGeom>
            <a:solidFill>
              <a:srgbClr val="7F7F7F"/>
            </a:solidFill>
            <a:ln w="9525">
              <a:noFill/>
              <a:miter lim="800000"/>
              <a:headEnd/>
              <a:tailEnd/>
            </a:ln>
            <a:effectLst/>
            <a:extLst/>
          </p:spPr>
          <p:txBody>
            <a:bodyPr wrap="none" anchor="ctr"/>
            <a:lstStyle/>
            <a:p>
              <a:endParaRPr lang="es-ES_tradnl" sz="900" dirty="0">
                <a:latin typeface="+mn-lt"/>
              </a:endParaRPr>
            </a:p>
          </p:txBody>
        </p:sp>
        <p:sp>
          <p:nvSpPr>
            <p:cNvPr id="67" name="Legend1"/>
            <p:cNvSpPr>
              <a:spLocks noChangeArrowheads="1"/>
            </p:cNvSpPr>
            <p:nvPr>
              <p:custDataLst>
                <p:tags r:id="rId3"/>
              </p:custDataLst>
            </p:nvPr>
          </p:nvSpPr>
          <p:spPr bwMode="gray">
            <a:xfrm>
              <a:off x="5295652" y="515576"/>
              <a:ext cx="110286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85">
                <a:buClr>
                  <a:schemeClr val="tx2"/>
                </a:buClr>
              </a:pPr>
              <a:r>
                <a:rPr lang="es-ES_tradnl" sz="900" dirty="0">
                  <a:latin typeface="+mn-lt"/>
                </a:rPr>
                <a:t>Solo benchmark local</a:t>
              </a:r>
            </a:p>
          </p:txBody>
        </p:sp>
        <p:sp>
          <p:nvSpPr>
            <p:cNvPr id="70" name="RectangleLegend1"/>
            <p:cNvSpPr>
              <a:spLocks noChangeArrowheads="1"/>
            </p:cNvSpPr>
            <p:nvPr/>
          </p:nvSpPr>
          <p:spPr bwMode="gray">
            <a:xfrm>
              <a:off x="6524257" y="515576"/>
              <a:ext cx="144000" cy="144000"/>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s-ES_tradnl" sz="900" dirty="0">
                <a:latin typeface="+mn-lt"/>
              </a:endParaRPr>
            </a:p>
          </p:txBody>
        </p:sp>
        <p:sp>
          <p:nvSpPr>
            <p:cNvPr id="71" name="Legend1"/>
            <p:cNvSpPr>
              <a:spLocks noChangeArrowheads="1"/>
            </p:cNvSpPr>
            <p:nvPr>
              <p:custDataLst>
                <p:tags r:id="rId4"/>
              </p:custDataLst>
            </p:nvPr>
          </p:nvSpPr>
          <p:spPr bwMode="gray">
            <a:xfrm>
              <a:off x="6781115" y="515576"/>
              <a:ext cx="184665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85">
                <a:buClr>
                  <a:schemeClr val="tx2"/>
                </a:buClr>
              </a:pPr>
              <a:r>
                <a:rPr lang="es-ES_tradnl" sz="900" dirty="0">
                  <a:latin typeface="+mn-lt"/>
                </a:rPr>
                <a:t>Benchmarks locales e internacional </a:t>
              </a:r>
            </a:p>
          </p:txBody>
        </p:sp>
      </p:grpSp>
      <p:cxnSp>
        <p:nvCxnSpPr>
          <p:cNvPr id="29" name="Straight Connector 28"/>
          <p:cNvCxnSpPr>
            <a:cxnSpLocks/>
          </p:cNvCxnSpPr>
          <p:nvPr/>
        </p:nvCxnSpPr>
        <p:spPr>
          <a:xfrm flipV="1">
            <a:off x="3495896" y="1655371"/>
            <a:ext cx="1044833" cy="1"/>
          </a:xfrm>
          <a:prstGeom prst="line">
            <a:avLst/>
          </a:prstGeom>
          <a:noFill/>
          <a:ln w="12700">
            <a:solidFill>
              <a:srgbClr val="7F7F7F"/>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a:cxnSpLocks/>
          </p:cNvCxnSpPr>
          <p:nvPr/>
        </p:nvCxnSpPr>
        <p:spPr>
          <a:xfrm flipH="1">
            <a:off x="3499523" y="1492541"/>
            <a:ext cx="3" cy="631449"/>
          </a:xfrm>
          <a:prstGeom prst="line">
            <a:avLst/>
          </a:prstGeom>
          <a:noFill/>
          <a:ln w="12700">
            <a:solidFill>
              <a:srgbClr val="7F7F7F"/>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45" name="Rectangle 16"/>
          <p:cNvSpPr>
            <a:spLocks noChangeArrowheads="1"/>
          </p:cNvSpPr>
          <p:nvPr/>
        </p:nvSpPr>
        <p:spPr bwMode="gray">
          <a:xfrm>
            <a:off x="785440" y="1492541"/>
            <a:ext cx="2582344" cy="5856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Gestión de precios, demanda, marca, clientes potenciales, canales, y estrategia comercial, etc.</a:t>
            </a:r>
            <a:endParaRPr lang="es-ES_tradnl" sz="1000" b="1" dirty="0">
              <a:cs typeface="Arial" pitchFamily="34" charset="0"/>
            </a:endParaRPr>
          </a:p>
        </p:txBody>
      </p:sp>
      <p:cxnSp>
        <p:nvCxnSpPr>
          <p:cNvPr id="50" name="Straight Connector 49"/>
          <p:cNvCxnSpPr>
            <a:cxnSpLocks/>
          </p:cNvCxnSpPr>
          <p:nvPr/>
        </p:nvCxnSpPr>
        <p:spPr>
          <a:xfrm flipH="1">
            <a:off x="3499523" y="2484983"/>
            <a:ext cx="3" cy="585679"/>
          </a:xfrm>
          <a:prstGeom prst="line">
            <a:avLst/>
          </a:prstGeom>
          <a:noFill/>
          <a:ln w="12700">
            <a:solidFill>
              <a:srgbClr val="7F7F7F"/>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49" name="Rectangle 16"/>
          <p:cNvSpPr>
            <a:spLocks noChangeArrowheads="1"/>
          </p:cNvSpPr>
          <p:nvPr/>
        </p:nvSpPr>
        <p:spPr bwMode="gray">
          <a:xfrm>
            <a:off x="785440" y="2484983"/>
            <a:ext cx="2582344" cy="5856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Gestión, identificación, planeación y prevención de riesgos de forma sistemática, etc.</a:t>
            </a:r>
            <a:endParaRPr lang="es-ES_tradnl" sz="1000" b="1" dirty="0">
              <a:cs typeface="Arial" pitchFamily="34" charset="0"/>
            </a:endParaRPr>
          </a:p>
        </p:txBody>
      </p:sp>
      <p:sp>
        <p:nvSpPr>
          <p:cNvPr id="53" name="Rectangle 16"/>
          <p:cNvSpPr>
            <a:spLocks noChangeArrowheads="1"/>
          </p:cNvSpPr>
          <p:nvPr/>
        </p:nvSpPr>
        <p:spPr bwMode="gray">
          <a:xfrm>
            <a:off x="785440" y="3766002"/>
            <a:ext cx="2582344" cy="5856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Gestión de normas </a:t>
            </a:r>
            <a:br>
              <a:rPr lang="es-ES_tradnl" sz="1000" dirty="0"/>
            </a:br>
            <a:r>
              <a:rPr lang="es-ES_tradnl" sz="1000" dirty="0"/>
              <a:t>de salud y seguridad, cultura, incentivos, planes de emergencia, etc.</a:t>
            </a:r>
            <a:endParaRPr lang="es-ES_tradnl" sz="1000" b="1" dirty="0">
              <a:cs typeface="Arial" pitchFamily="34" charset="0"/>
            </a:endParaRPr>
          </a:p>
        </p:txBody>
      </p:sp>
      <p:cxnSp>
        <p:nvCxnSpPr>
          <p:cNvPr id="73" name="Straight Connector 72"/>
          <p:cNvCxnSpPr>
            <a:cxnSpLocks/>
          </p:cNvCxnSpPr>
          <p:nvPr/>
        </p:nvCxnSpPr>
        <p:spPr>
          <a:xfrm flipH="1">
            <a:off x="3499523" y="3766002"/>
            <a:ext cx="3" cy="585678"/>
          </a:xfrm>
          <a:prstGeom prst="line">
            <a:avLst/>
          </a:prstGeom>
          <a:noFill/>
          <a:ln w="12700">
            <a:solidFill>
              <a:srgbClr val="7F7F7F"/>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55" name="Rectangle 16"/>
          <p:cNvSpPr>
            <a:spLocks noChangeArrowheads="1"/>
          </p:cNvSpPr>
          <p:nvPr/>
        </p:nvSpPr>
        <p:spPr bwMode="gray">
          <a:xfrm>
            <a:off x="785440" y="4602475"/>
            <a:ext cx="2582344" cy="5856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Cultura de desempeño, manejo de talento, reclutamiento, planes de carrera, capacitación, etc.</a:t>
            </a:r>
            <a:endParaRPr lang="es-ES_tradnl" sz="1000" b="1" dirty="0">
              <a:cs typeface="Arial" pitchFamily="34" charset="0"/>
            </a:endParaRPr>
          </a:p>
        </p:txBody>
      </p:sp>
      <p:cxnSp>
        <p:nvCxnSpPr>
          <p:cNvPr id="75" name="Straight Connector 74"/>
          <p:cNvCxnSpPr>
            <a:cxnSpLocks/>
          </p:cNvCxnSpPr>
          <p:nvPr/>
        </p:nvCxnSpPr>
        <p:spPr>
          <a:xfrm flipH="1">
            <a:off x="3499523" y="4602475"/>
            <a:ext cx="3" cy="585679"/>
          </a:xfrm>
          <a:prstGeom prst="line">
            <a:avLst/>
          </a:prstGeom>
          <a:noFill/>
          <a:ln w="1270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cxnSp>
      <p:grpSp>
        <p:nvGrpSpPr>
          <p:cNvPr id="48" name="Group 47"/>
          <p:cNvGrpSpPr/>
          <p:nvPr/>
        </p:nvGrpSpPr>
        <p:grpSpPr>
          <a:xfrm>
            <a:off x="3713795" y="1363455"/>
            <a:ext cx="4509121" cy="4506265"/>
            <a:chOff x="1924050" y="1402807"/>
            <a:chExt cx="4739130" cy="4736130"/>
          </a:xfrm>
        </p:grpSpPr>
        <p:sp>
          <p:nvSpPr>
            <p:cNvPr id="31" name="Oval 30"/>
            <p:cNvSpPr>
              <a:spLocks/>
            </p:cNvSpPr>
            <p:nvPr/>
          </p:nvSpPr>
          <p:spPr>
            <a:xfrm>
              <a:off x="2566352" y="2044701"/>
              <a:ext cx="3454548" cy="3452346"/>
            </a:xfrm>
            <a:prstGeom prst="ellipse">
              <a:avLst/>
            </a:prstGeom>
            <a:solidFill>
              <a:srgbClr val="FFF0DD">
                <a:alpha val="73725"/>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solidFill>
                  <a:schemeClr val="tx1"/>
                </a:solidFill>
              </a:endParaRPr>
            </a:p>
          </p:txBody>
        </p:sp>
        <p:grpSp>
          <p:nvGrpSpPr>
            <p:cNvPr id="43" name="Group 42"/>
            <p:cNvGrpSpPr/>
            <p:nvPr/>
          </p:nvGrpSpPr>
          <p:grpSpPr>
            <a:xfrm>
              <a:off x="2054329" y="1533003"/>
              <a:ext cx="4478593" cy="4475741"/>
              <a:chOff x="2054329" y="1533003"/>
              <a:chExt cx="4478593" cy="4475741"/>
            </a:xfrm>
          </p:grpSpPr>
          <p:sp>
            <p:nvSpPr>
              <p:cNvPr id="8" name="Freeform 22"/>
              <p:cNvSpPr>
                <a:spLocks/>
              </p:cNvSpPr>
              <p:nvPr/>
            </p:nvSpPr>
            <p:spPr bwMode="auto">
              <a:xfrm>
                <a:off x="4625743" y="4447505"/>
                <a:ext cx="1473859" cy="1435884"/>
              </a:xfrm>
              <a:custGeom>
                <a:avLst/>
                <a:gdLst>
                  <a:gd name="T0" fmla="*/ 602 w 1034"/>
                  <a:gd name="T1" fmla="*/ 374 h 1008"/>
                  <a:gd name="T2" fmla="*/ 332 w 1034"/>
                  <a:gd name="T3" fmla="*/ 0 h 1008"/>
                  <a:gd name="T4" fmla="*/ 332 w 1034"/>
                  <a:gd name="T5" fmla="*/ 0 h 1008"/>
                  <a:gd name="T6" fmla="*/ 300 w 1034"/>
                  <a:gd name="T7" fmla="*/ 36 h 1008"/>
                  <a:gd name="T8" fmla="*/ 264 w 1034"/>
                  <a:gd name="T9" fmla="*/ 70 h 1008"/>
                  <a:gd name="T10" fmla="*/ 228 w 1034"/>
                  <a:gd name="T11" fmla="*/ 102 h 1008"/>
                  <a:gd name="T12" fmla="*/ 188 w 1034"/>
                  <a:gd name="T13" fmla="*/ 132 h 1008"/>
                  <a:gd name="T14" fmla="*/ 148 w 1034"/>
                  <a:gd name="T15" fmla="*/ 158 h 1008"/>
                  <a:gd name="T16" fmla="*/ 106 w 1034"/>
                  <a:gd name="T17" fmla="*/ 182 h 1008"/>
                  <a:gd name="T18" fmla="*/ 62 w 1034"/>
                  <a:gd name="T19" fmla="*/ 204 h 1008"/>
                  <a:gd name="T20" fmla="*/ 16 w 1034"/>
                  <a:gd name="T21" fmla="*/ 222 h 1008"/>
                  <a:gd name="T22" fmla="*/ 0 w 1034"/>
                  <a:gd name="T23" fmla="*/ 690 h 1008"/>
                  <a:gd name="T24" fmla="*/ 286 w 1034"/>
                  <a:gd name="T25" fmla="*/ 1008 h 1008"/>
                  <a:gd name="T26" fmla="*/ 286 w 1034"/>
                  <a:gd name="T27" fmla="*/ 1008 h 1008"/>
                  <a:gd name="T28" fmla="*/ 342 w 1034"/>
                  <a:gd name="T29" fmla="*/ 988 h 1008"/>
                  <a:gd name="T30" fmla="*/ 398 w 1034"/>
                  <a:gd name="T31" fmla="*/ 966 h 1008"/>
                  <a:gd name="T32" fmla="*/ 452 w 1034"/>
                  <a:gd name="T33" fmla="*/ 940 h 1008"/>
                  <a:gd name="T34" fmla="*/ 504 w 1034"/>
                  <a:gd name="T35" fmla="*/ 914 h 1008"/>
                  <a:gd name="T36" fmla="*/ 556 w 1034"/>
                  <a:gd name="T37" fmla="*/ 884 h 1008"/>
                  <a:gd name="T38" fmla="*/ 606 w 1034"/>
                  <a:gd name="T39" fmla="*/ 854 h 1008"/>
                  <a:gd name="T40" fmla="*/ 656 w 1034"/>
                  <a:gd name="T41" fmla="*/ 822 h 1008"/>
                  <a:gd name="T42" fmla="*/ 704 w 1034"/>
                  <a:gd name="T43" fmla="*/ 788 h 1008"/>
                  <a:gd name="T44" fmla="*/ 750 w 1034"/>
                  <a:gd name="T45" fmla="*/ 752 h 1008"/>
                  <a:gd name="T46" fmla="*/ 794 w 1034"/>
                  <a:gd name="T47" fmla="*/ 714 h 1008"/>
                  <a:gd name="T48" fmla="*/ 838 w 1034"/>
                  <a:gd name="T49" fmla="*/ 674 h 1008"/>
                  <a:gd name="T50" fmla="*/ 880 w 1034"/>
                  <a:gd name="T51" fmla="*/ 634 h 1008"/>
                  <a:gd name="T52" fmla="*/ 922 w 1034"/>
                  <a:gd name="T53" fmla="*/ 590 h 1008"/>
                  <a:gd name="T54" fmla="*/ 960 w 1034"/>
                  <a:gd name="T55" fmla="*/ 548 h 1008"/>
                  <a:gd name="T56" fmla="*/ 998 w 1034"/>
                  <a:gd name="T57" fmla="*/ 502 h 1008"/>
                  <a:gd name="T58" fmla="*/ 1034 w 1034"/>
                  <a:gd name="T59" fmla="*/ 454 h 1008"/>
                  <a:gd name="T60" fmla="*/ 602 w 1034"/>
                  <a:gd name="T61" fmla="*/ 374 h 10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34"/>
                  <a:gd name="T94" fmla="*/ 0 h 1008"/>
                  <a:gd name="T95" fmla="*/ 1034 w 1034"/>
                  <a:gd name="T96" fmla="*/ 1008 h 10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34" h="1008">
                    <a:moveTo>
                      <a:pt x="602" y="374"/>
                    </a:moveTo>
                    <a:lnTo>
                      <a:pt x="332" y="0"/>
                    </a:lnTo>
                    <a:lnTo>
                      <a:pt x="300" y="36"/>
                    </a:lnTo>
                    <a:lnTo>
                      <a:pt x="264" y="70"/>
                    </a:lnTo>
                    <a:lnTo>
                      <a:pt x="228" y="102"/>
                    </a:lnTo>
                    <a:lnTo>
                      <a:pt x="188" y="132"/>
                    </a:lnTo>
                    <a:lnTo>
                      <a:pt x="148" y="158"/>
                    </a:lnTo>
                    <a:lnTo>
                      <a:pt x="106" y="182"/>
                    </a:lnTo>
                    <a:lnTo>
                      <a:pt x="62" y="204"/>
                    </a:lnTo>
                    <a:lnTo>
                      <a:pt x="16" y="222"/>
                    </a:lnTo>
                    <a:lnTo>
                      <a:pt x="0" y="690"/>
                    </a:lnTo>
                    <a:lnTo>
                      <a:pt x="286" y="1008"/>
                    </a:lnTo>
                    <a:lnTo>
                      <a:pt x="342" y="988"/>
                    </a:lnTo>
                    <a:lnTo>
                      <a:pt x="398" y="966"/>
                    </a:lnTo>
                    <a:lnTo>
                      <a:pt x="452" y="940"/>
                    </a:lnTo>
                    <a:lnTo>
                      <a:pt x="504" y="914"/>
                    </a:lnTo>
                    <a:lnTo>
                      <a:pt x="556" y="884"/>
                    </a:lnTo>
                    <a:lnTo>
                      <a:pt x="606" y="854"/>
                    </a:lnTo>
                    <a:lnTo>
                      <a:pt x="656" y="822"/>
                    </a:lnTo>
                    <a:lnTo>
                      <a:pt x="704" y="788"/>
                    </a:lnTo>
                    <a:lnTo>
                      <a:pt x="750" y="752"/>
                    </a:lnTo>
                    <a:lnTo>
                      <a:pt x="794" y="714"/>
                    </a:lnTo>
                    <a:lnTo>
                      <a:pt x="838" y="674"/>
                    </a:lnTo>
                    <a:lnTo>
                      <a:pt x="880" y="634"/>
                    </a:lnTo>
                    <a:lnTo>
                      <a:pt x="922" y="590"/>
                    </a:lnTo>
                    <a:lnTo>
                      <a:pt x="960" y="548"/>
                    </a:lnTo>
                    <a:lnTo>
                      <a:pt x="998" y="502"/>
                    </a:lnTo>
                    <a:lnTo>
                      <a:pt x="1034" y="454"/>
                    </a:lnTo>
                    <a:lnTo>
                      <a:pt x="602" y="374"/>
                    </a:lnTo>
                    <a:close/>
                  </a:path>
                </a:pathLst>
              </a:custGeom>
              <a:solidFill>
                <a:schemeClr val="accent2"/>
              </a:solidFill>
              <a:ln w="9525">
                <a:noFill/>
                <a:round/>
                <a:headEnd/>
                <a:tailEnd/>
              </a:ln>
            </p:spPr>
            <p:txBody>
              <a:bodyPr>
                <a:noAutofit/>
              </a:bodyPr>
              <a:lstStyle/>
              <a:p>
                <a:endParaRPr lang="es-ES_tradnl" sz="1000" dirty="0">
                  <a:solidFill>
                    <a:schemeClr val="bg1"/>
                  </a:solidFill>
                </a:endParaRPr>
              </a:p>
            </p:txBody>
          </p:sp>
          <p:sp>
            <p:nvSpPr>
              <p:cNvPr id="9" name="Freeform 16"/>
              <p:cNvSpPr>
                <a:spLocks/>
              </p:cNvSpPr>
              <p:nvPr/>
            </p:nvSpPr>
            <p:spPr bwMode="auto">
              <a:xfrm>
                <a:off x="2094240" y="2085704"/>
                <a:ext cx="1505218" cy="1413092"/>
              </a:xfrm>
              <a:custGeom>
                <a:avLst/>
                <a:gdLst>
                  <a:gd name="T0" fmla="*/ 430 w 1056"/>
                  <a:gd name="T1" fmla="*/ 768 h 992"/>
                  <a:gd name="T2" fmla="*/ 832 w 1056"/>
                  <a:gd name="T3" fmla="*/ 992 h 992"/>
                  <a:gd name="T4" fmla="*/ 832 w 1056"/>
                  <a:gd name="T5" fmla="*/ 992 h 992"/>
                  <a:gd name="T6" fmla="*/ 848 w 1056"/>
                  <a:gd name="T7" fmla="*/ 940 h 992"/>
                  <a:gd name="T8" fmla="*/ 868 w 1056"/>
                  <a:gd name="T9" fmla="*/ 890 h 992"/>
                  <a:gd name="T10" fmla="*/ 892 w 1056"/>
                  <a:gd name="T11" fmla="*/ 842 h 992"/>
                  <a:gd name="T12" fmla="*/ 918 w 1056"/>
                  <a:gd name="T13" fmla="*/ 794 h 992"/>
                  <a:gd name="T14" fmla="*/ 948 w 1056"/>
                  <a:gd name="T15" fmla="*/ 750 h 992"/>
                  <a:gd name="T16" fmla="*/ 982 w 1056"/>
                  <a:gd name="T17" fmla="*/ 708 h 992"/>
                  <a:gd name="T18" fmla="*/ 1018 w 1056"/>
                  <a:gd name="T19" fmla="*/ 670 h 992"/>
                  <a:gd name="T20" fmla="*/ 1056 w 1056"/>
                  <a:gd name="T21" fmla="*/ 634 h 992"/>
                  <a:gd name="T22" fmla="*/ 896 w 1056"/>
                  <a:gd name="T23" fmla="*/ 192 h 992"/>
                  <a:gd name="T24" fmla="*/ 510 w 1056"/>
                  <a:gd name="T25" fmla="*/ 0 h 992"/>
                  <a:gd name="T26" fmla="*/ 510 w 1056"/>
                  <a:gd name="T27" fmla="*/ 0 h 992"/>
                  <a:gd name="T28" fmla="*/ 462 w 1056"/>
                  <a:gd name="T29" fmla="*/ 42 h 992"/>
                  <a:gd name="T30" fmla="*/ 416 w 1056"/>
                  <a:gd name="T31" fmla="*/ 88 h 992"/>
                  <a:gd name="T32" fmla="*/ 372 w 1056"/>
                  <a:gd name="T33" fmla="*/ 134 h 992"/>
                  <a:gd name="T34" fmla="*/ 332 w 1056"/>
                  <a:gd name="T35" fmla="*/ 182 h 992"/>
                  <a:gd name="T36" fmla="*/ 292 w 1056"/>
                  <a:gd name="T37" fmla="*/ 232 h 992"/>
                  <a:gd name="T38" fmla="*/ 254 w 1056"/>
                  <a:gd name="T39" fmla="*/ 284 h 992"/>
                  <a:gd name="T40" fmla="*/ 218 w 1056"/>
                  <a:gd name="T41" fmla="*/ 338 h 992"/>
                  <a:gd name="T42" fmla="*/ 184 w 1056"/>
                  <a:gd name="T43" fmla="*/ 392 h 992"/>
                  <a:gd name="T44" fmla="*/ 152 w 1056"/>
                  <a:gd name="T45" fmla="*/ 450 h 992"/>
                  <a:gd name="T46" fmla="*/ 124 w 1056"/>
                  <a:gd name="T47" fmla="*/ 508 h 992"/>
                  <a:gd name="T48" fmla="*/ 98 w 1056"/>
                  <a:gd name="T49" fmla="*/ 566 h 992"/>
                  <a:gd name="T50" fmla="*/ 72 w 1056"/>
                  <a:gd name="T51" fmla="*/ 626 h 992"/>
                  <a:gd name="T52" fmla="*/ 50 w 1056"/>
                  <a:gd name="T53" fmla="*/ 688 h 992"/>
                  <a:gd name="T54" fmla="*/ 32 w 1056"/>
                  <a:gd name="T55" fmla="*/ 750 h 992"/>
                  <a:gd name="T56" fmla="*/ 14 w 1056"/>
                  <a:gd name="T57" fmla="*/ 814 h 992"/>
                  <a:gd name="T58" fmla="*/ 0 w 1056"/>
                  <a:gd name="T59" fmla="*/ 880 h 992"/>
                  <a:gd name="T60" fmla="*/ 430 w 1056"/>
                  <a:gd name="T61" fmla="*/ 768 h 99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992"/>
                  <a:gd name="T95" fmla="*/ 1056 w 1056"/>
                  <a:gd name="T96" fmla="*/ 992 h 99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992">
                    <a:moveTo>
                      <a:pt x="430" y="768"/>
                    </a:moveTo>
                    <a:lnTo>
                      <a:pt x="832" y="992"/>
                    </a:lnTo>
                    <a:lnTo>
                      <a:pt x="848" y="940"/>
                    </a:lnTo>
                    <a:lnTo>
                      <a:pt x="868" y="890"/>
                    </a:lnTo>
                    <a:lnTo>
                      <a:pt x="892" y="842"/>
                    </a:lnTo>
                    <a:lnTo>
                      <a:pt x="918" y="794"/>
                    </a:lnTo>
                    <a:lnTo>
                      <a:pt x="948" y="750"/>
                    </a:lnTo>
                    <a:lnTo>
                      <a:pt x="982" y="708"/>
                    </a:lnTo>
                    <a:lnTo>
                      <a:pt x="1018" y="670"/>
                    </a:lnTo>
                    <a:lnTo>
                      <a:pt x="1056" y="634"/>
                    </a:lnTo>
                    <a:lnTo>
                      <a:pt x="896" y="192"/>
                    </a:lnTo>
                    <a:lnTo>
                      <a:pt x="510" y="0"/>
                    </a:lnTo>
                    <a:lnTo>
                      <a:pt x="462" y="42"/>
                    </a:lnTo>
                    <a:lnTo>
                      <a:pt x="416" y="88"/>
                    </a:lnTo>
                    <a:lnTo>
                      <a:pt x="372" y="134"/>
                    </a:lnTo>
                    <a:lnTo>
                      <a:pt x="332" y="182"/>
                    </a:lnTo>
                    <a:lnTo>
                      <a:pt x="292" y="232"/>
                    </a:lnTo>
                    <a:lnTo>
                      <a:pt x="254" y="284"/>
                    </a:lnTo>
                    <a:lnTo>
                      <a:pt x="218" y="338"/>
                    </a:lnTo>
                    <a:lnTo>
                      <a:pt x="184" y="392"/>
                    </a:lnTo>
                    <a:lnTo>
                      <a:pt x="152" y="450"/>
                    </a:lnTo>
                    <a:lnTo>
                      <a:pt x="124" y="508"/>
                    </a:lnTo>
                    <a:lnTo>
                      <a:pt x="98" y="566"/>
                    </a:lnTo>
                    <a:lnTo>
                      <a:pt x="72" y="626"/>
                    </a:lnTo>
                    <a:lnTo>
                      <a:pt x="50" y="688"/>
                    </a:lnTo>
                    <a:lnTo>
                      <a:pt x="32" y="750"/>
                    </a:lnTo>
                    <a:lnTo>
                      <a:pt x="14" y="814"/>
                    </a:lnTo>
                    <a:lnTo>
                      <a:pt x="0" y="880"/>
                    </a:lnTo>
                    <a:lnTo>
                      <a:pt x="430" y="768"/>
                    </a:lnTo>
                    <a:close/>
                  </a:path>
                </a:pathLst>
              </a:custGeom>
              <a:solidFill>
                <a:schemeClr val="tx1">
                  <a:lumMod val="50000"/>
                  <a:lumOff val="50000"/>
                </a:schemeClr>
              </a:solidFill>
              <a:ln w="9525">
                <a:noFill/>
                <a:round/>
                <a:headEnd/>
                <a:tailEnd/>
              </a:ln>
            </p:spPr>
            <p:txBody>
              <a:bodyPr>
                <a:noAutofit/>
              </a:bodyPr>
              <a:lstStyle/>
              <a:p>
                <a:endParaRPr lang="es-ES_tradnl" sz="1000" dirty="0">
                  <a:solidFill>
                    <a:schemeClr val="bg1"/>
                  </a:solidFill>
                </a:endParaRPr>
              </a:p>
            </p:txBody>
          </p:sp>
          <p:sp>
            <p:nvSpPr>
              <p:cNvPr id="10" name="Freeform 17"/>
              <p:cNvSpPr>
                <a:spLocks/>
              </p:cNvSpPr>
              <p:nvPr/>
            </p:nvSpPr>
            <p:spPr bwMode="auto">
              <a:xfrm>
                <a:off x="2935224" y="1533003"/>
                <a:ext cx="1604995" cy="1370357"/>
              </a:xfrm>
              <a:custGeom>
                <a:avLst/>
                <a:gdLst>
                  <a:gd name="T0" fmla="*/ 396 w 1126"/>
                  <a:gd name="T1" fmla="*/ 526 h 962"/>
                  <a:gd name="T2" fmla="*/ 544 w 1126"/>
                  <a:gd name="T3" fmla="*/ 962 h 962"/>
                  <a:gd name="T4" fmla="*/ 544 w 1126"/>
                  <a:gd name="T5" fmla="*/ 962 h 962"/>
                  <a:gd name="T6" fmla="*/ 588 w 1126"/>
                  <a:gd name="T7" fmla="*/ 934 h 962"/>
                  <a:gd name="T8" fmla="*/ 636 w 1126"/>
                  <a:gd name="T9" fmla="*/ 910 h 962"/>
                  <a:gd name="T10" fmla="*/ 684 w 1126"/>
                  <a:gd name="T11" fmla="*/ 890 h 962"/>
                  <a:gd name="T12" fmla="*/ 734 w 1126"/>
                  <a:gd name="T13" fmla="*/ 872 h 962"/>
                  <a:gd name="T14" fmla="*/ 786 w 1126"/>
                  <a:gd name="T15" fmla="*/ 858 h 962"/>
                  <a:gd name="T16" fmla="*/ 840 w 1126"/>
                  <a:gd name="T17" fmla="*/ 848 h 962"/>
                  <a:gd name="T18" fmla="*/ 896 w 1126"/>
                  <a:gd name="T19" fmla="*/ 842 h 962"/>
                  <a:gd name="T20" fmla="*/ 952 w 1126"/>
                  <a:gd name="T21" fmla="*/ 838 h 962"/>
                  <a:gd name="T22" fmla="*/ 952 w 1126"/>
                  <a:gd name="T23" fmla="*/ 838 h 962"/>
                  <a:gd name="T24" fmla="*/ 956 w 1126"/>
                  <a:gd name="T25" fmla="*/ 838 h 962"/>
                  <a:gd name="T26" fmla="*/ 1126 w 1126"/>
                  <a:gd name="T27" fmla="*/ 400 h 962"/>
                  <a:gd name="T28" fmla="*/ 962 w 1126"/>
                  <a:gd name="T29" fmla="*/ 0 h 962"/>
                  <a:gd name="T30" fmla="*/ 962 w 1126"/>
                  <a:gd name="T31" fmla="*/ 0 h 962"/>
                  <a:gd name="T32" fmla="*/ 952 w 1126"/>
                  <a:gd name="T33" fmla="*/ 0 h 962"/>
                  <a:gd name="T34" fmla="*/ 952 w 1126"/>
                  <a:gd name="T35" fmla="*/ 0 h 962"/>
                  <a:gd name="T36" fmla="*/ 886 w 1126"/>
                  <a:gd name="T37" fmla="*/ 2 h 962"/>
                  <a:gd name="T38" fmla="*/ 820 w 1126"/>
                  <a:gd name="T39" fmla="*/ 6 h 962"/>
                  <a:gd name="T40" fmla="*/ 754 w 1126"/>
                  <a:gd name="T41" fmla="*/ 12 h 962"/>
                  <a:gd name="T42" fmla="*/ 690 w 1126"/>
                  <a:gd name="T43" fmla="*/ 22 h 962"/>
                  <a:gd name="T44" fmla="*/ 626 w 1126"/>
                  <a:gd name="T45" fmla="*/ 34 h 962"/>
                  <a:gd name="T46" fmla="*/ 564 w 1126"/>
                  <a:gd name="T47" fmla="*/ 48 h 962"/>
                  <a:gd name="T48" fmla="*/ 502 w 1126"/>
                  <a:gd name="T49" fmla="*/ 66 h 962"/>
                  <a:gd name="T50" fmla="*/ 442 w 1126"/>
                  <a:gd name="T51" fmla="*/ 86 h 962"/>
                  <a:gd name="T52" fmla="*/ 382 w 1126"/>
                  <a:gd name="T53" fmla="*/ 108 h 962"/>
                  <a:gd name="T54" fmla="*/ 324 w 1126"/>
                  <a:gd name="T55" fmla="*/ 132 h 962"/>
                  <a:gd name="T56" fmla="*/ 266 w 1126"/>
                  <a:gd name="T57" fmla="*/ 158 h 962"/>
                  <a:gd name="T58" fmla="*/ 210 w 1126"/>
                  <a:gd name="T59" fmla="*/ 186 h 962"/>
                  <a:gd name="T60" fmla="*/ 156 w 1126"/>
                  <a:gd name="T61" fmla="*/ 216 h 962"/>
                  <a:gd name="T62" fmla="*/ 102 w 1126"/>
                  <a:gd name="T63" fmla="*/ 250 h 962"/>
                  <a:gd name="T64" fmla="*/ 52 w 1126"/>
                  <a:gd name="T65" fmla="*/ 284 h 962"/>
                  <a:gd name="T66" fmla="*/ 0 w 1126"/>
                  <a:gd name="T67" fmla="*/ 322 h 962"/>
                  <a:gd name="T68" fmla="*/ 396 w 1126"/>
                  <a:gd name="T69" fmla="*/ 526 h 9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6"/>
                  <a:gd name="T106" fmla="*/ 0 h 962"/>
                  <a:gd name="T107" fmla="*/ 1126 w 1126"/>
                  <a:gd name="T108" fmla="*/ 962 h 9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6" h="962">
                    <a:moveTo>
                      <a:pt x="396" y="526"/>
                    </a:moveTo>
                    <a:lnTo>
                      <a:pt x="544" y="962"/>
                    </a:lnTo>
                    <a:lnTo>
                      <a:pt x="588" y="934"/>
                    </a:lnTo>
                    <a:lnTo>
                      <a:pt x="636" y="910"/>
                    </a:lnTo>
                    <a:lnTo>
                      <a:pt x="684" y="890"/>
                    </a:lnTo>
                    <a:lnTo>
                      <a:pt x="734" y="872"/>
                    </a:lnTo>
                    <a:lnTo>
                      <a:pt x="786" y="858"/>
                    </a:lnTo>
                    <a:lnTo>
                      <a:pt x="840" y="848"/>
                    </a:lnTo>
                    <a:lnTo>
                      <a:pt x="896" y="842"/>
                    </a:lnTo>
                    <a:lnTo>
                      <a:pt x="952" y="838"/>
                    </a:lnTo>
                    <a:lnTo>
                      <a:pt x="956" y="838"/>
                    </a:lnTo>
                    <a:lnTo>
                      <a:pt x="1126" y="400"/>
                    </a:lnTo>
                    <a:lnTo>
                      <a:pt x="962" y="0"/>
                    </a:lnTo>
                    <a:lnTo>
                      <a:pt x="952" y="0"/>
                    </a:lnTo>
                    <a:lnTo>
                      <a:pt x="886" y="2"/>
                    </a:lnTo>
                    <a:lnTo>
                      <a:pt x="820" y="6"/>
                    </a:lnTo>
                    <a:lnTo>
                      <a:pt x="754" y="12"/>
                    </a:lnTo>
                    <a:lnTo>
                      <a:pt x="690" y="22"/>
                    </a:lnTo>
                    <a:lnTo>
                      <a:pt x="626" y="34"/>
                    </a:lnTo>
                    <a:lnTo>
                      <a:pt x="564" y="48"/>
                    </a:lnTo>
                    <a:lnTo>
                      <a:pt x="502" y="66"/>
                    </a:lnTo>
                    <a:lnTo>
                      <a:pt x="442" y="86"/>
                    </a:lnTo>
                    <a:lnTo>
                      <a:pt x="382" y="108"/>
                    </a:lnTo>
                    <a:lnTo>
                      <a:pt x="324" y="132"/>
                    </a:lnTo>
                    <a:lnTo>
                      <a:pt x="266" y="158"/>
                    </a:lnTo>
                    <a:lnTo>
                      <a:pt x="210" y="186"/>
                    </a:lnTo>
                    <a:lnTo>
                      <a:pt x="156" y="216"/>
                    </a:lnTo>
                    <a:lnTo>
                      <a:pt x="102" y="250"/>
                    </a:lnTo>
                    <a:lnTo>
                      <a:pt x="52" y="284"/>
                    </a:lnTo>
                    <a:lnTo>
                      <a:pt x="0" y="322"/>
                    </a:lnTo>
                    <a:lnTo>
                      <a:pt x="396" y="526"/>
                    </a:lnTo>
                    <a:close/>
                  </a:path>
                </a:pathLst>
              </a:custGeom>
              <a:solidFill>
                <a:schemeClr val="tx1">
                  <a:lumMod val="50000"/>
                  <a:lumOff val="50000"/>
                </a:schemeClr>
              </a:solidFill>
              <a:ln w="9525">
                <a:noFill/>
                <a:round/>
                <a:headEnd/>
                <a:tailEnd/>
              </a:ln>
            </p:spPr>
            <p:txBody>
              <a:bodyPr>
                <a:noAutofit/>
              </a:bodyPr>
              <a:lstStyle/>
              <a:p>
                <a:endParaRPr lang="es-ES_tradnl" sz="1000" dirty="0">
                  <a:solidFill>
                    <a:schemeClr val="bg1"/>
                  </a:solidFill>
                </a:endParaRPr>
              </a:p>
            </p:txBody>
          </p:sp>
          <p:sp>
            <p:nvSpPr>
              <p:cNvPr id="11" name="Freeform 18"/>
              <p:cNvSpPr>
                <a:spLocks/>
              </p:cNvSpPr>
              <p:nvPr/>
            </p:nvSpPr>
            <p:spPr bwMode="auto">
              <a:xfrm>
                <a:off x="2054329" y="3319310"/>
                <a:ext cx="1280006" cy="1515656"/>
              </a:xfrm>
              <a:custGeom>
                <a:avLst/>
                <a:gdLst>
                  <a:gd name="T0" fmla="*/ 448 w 898"/>
                  <a:gd name="T1" fmla="*/ 706 h 1064"/>
                  <a:gd name="T2" fmla="*/ 898 w 898"/>
                  <a:gd name="T3" fmla="*/ 624 h 1064"/>
                  <a:gd name="T4" fmla="*/ 898 w 898"/>
                  <a:gd name="T5" fmla="*/ 624 h 1064"/>
                  <a:gd name="T6" fmla="*/ 884 w 898"/>
                  <a:gd name="T7" fmla="*/ 588 h 1064"/>
                  <a:gd name="T8" fmla="*/ 870 w 898"/>
                  <a:gd name="T9" fmla="*/ 552 h 1064"/>
                  <a:gd name="T10" fmla="*/ 860 w 898"/>
                  <a:gd name="T11" fmla="*/ 516 h 1064"/>
                  <a:gd name="T12" fmla="*/ 850 w 898"/>
                  <a:gd name="T13" fmla="*/ 478 h 1064"/>
                  <a:gd name="T14" fmla="*/ 844 w 898"/>
                  <a:gd name="T15" fmla="*/ 440 h 1064"/>
                  <a:gd name="T16" fmla="*/ 838 w 898"/>
                  <a:gd name="T17" fmla="*/ 400 h 1064"/>
                  <a:gd name="T18" fmla="*/ 834 w 898"/>
                  <a:gd name="T19" fmla="*/ 362 h 1064"/>
                  <a:gd name="T20" fmla="*/ 834 w 898"/>
                  <a:gd name="T21" fmla="*/ 320 h 1064"/>
                  <a:gd name="T22" fmla="*/ 834 w 898"/>
                  <a:gd name="T23" fmla="*/ 320 h 1064"/>
                  <a:gd name="T24" fmla="*/ 836 w 898"/>
                  <a:gd name="T25" fmla="*/ 270 h 1064"/>
                  <a:gd name="T26" fmla="*/ 840 w 898"/>
                  <a:gd name="T27" fmla="*/ 220 h 1064"/>
                  <a:gd name="T28" fmla="*/ 428 w 898"/>
                  <a:gd name="T29" fmla="*/ 0 h 1064"/>
                  <a:gd name="T30" fmla="*/ 12 w 898"/>
                  <a:gd name="T31" fmla="*/ 118 h 1064"/>
                  <a:gd name="T32" fmla="*/ 12 w 898"/>
                  <a:gd name="T33" fmla="*/ 118 h 1064"/>
                  <a:gd name="T34" fmla="*/ 6 w 898"/>
                  <a:gd name="T35" fmla="*/ 166 h 1064"/>
                  <a:gd name="T36" fmla="*/ 2 w 898"/>
                  <a:gd name="T37" fmla="*/ 216 h 1064"/>
                  <a:gd name="T38" fmla="*/ 0 w 898"/>
                  <a:gd name="T39" fmla="*/ 266 h 1064"/>
                  <a:gd name="T40" fmla="*/ 0 w 898"/>
                  <a:gd name="T41" fmla="*/ 318 h 1064"/>
                  <a:gd name="T42" fmla="*/ 0 w 898"/>
                  <a:gd name="T43" fmla="*/ 318 h 1064"/>
                  <a:gd name="T44" fmla="*/ 0 w 898"/>
                  <a:gd name="T45" fmla="*/ 368 h 1064"/>
                  <a:gd name="T46" fmla="*/ 2 w 898"/>
                  <a:gd name="T47" fmla="*/ 418 h 1064"/>
                  <a:gd name="T48" fmla="*/ 6 w 898"/>
                  <a:gd name="T49" fmla="*/ 468 h 1064"/>
                  <a:gd name="T50" fmla="*/ 12 w 898"/>
                  <a:gd name="T51" fmla="*/ 516 h 1064"/>
                  <a:gd name="T52" fmla="*/ 18 w 898"/>
                  <a:gd name="T53" fmla="*/ 566 h 1064"/>
                  <a:gd name="T54" fmla="*/ 26 w 898"/>
                  <a:gd name="T55" fmla="*/ 614 h 1064"/>
                  <a:gd name="T56" fmla="*/ 36 w 898"/>
                  <a:gd name="T57" fmla="*/ 662 h 1064"/>
                  <a:gd name="T58" fmla="*/ 48 w 898"/>
                  <a:gd name="T59" fmla="*/ 708 h 1064"/>
                  <a:gd name="T60" fmla="*/ 60 w 898"/>
                  <a:gd name="T61" fmla="*/ 754 h 1064"/>
                  <a:gd name="T62" fmla="*/ 74 w 898"/>
                  <a:gd name="T63" fmla="*/ 800 h 1064"/>
                  <a:gd name="T64" fmla="*/ 90 w 898"/>
                  <a:gd name="T65" fmla="*/ 846 h 1064"/>
                  <a:gd name="T66" fmla="*/ 106 w 898"/>
                  <a:gd name="T67" fmla="*/ 892 h 1064"/>
                  <a:gd name="T68" fmla="*/ 126 w 898"/>
                  <a:gd name="T69" fmla="*/ 936 h 1064"/>
                  <a:gd name="T70" fmla="*/ 144 w 898"/>
                  <a:gd name="T71" fmla="*/ 978 h 1064"/>
                  <a:gd name="T72" fmla="*/ 166 w 898"/>
                  <a:gd name="T73" fmla="*/ 1022 h 1064"/>
                  <a:gd name="T74" fmla="*/ 186 w 898"/>
                  <a:gd name="T75" fmla="*/ 1064 h 1064"/>
                  <a:gd name="T76" fmla="*/ 448 w 898"/>
                  <a:gd name="T77" fmla="*/ 706 h 10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98"/>
                  <a:gd name="T118" fmla="*/ 0 h 1064"/>
                  <a:gd name="T119" fmla="*/ 898 w 898"/>
                  <a:gd name="T120" fmla="*/ 1064 h 106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98" h="1064">
                    <a:moveTo>
                      <a:pt x="448" y="706"/>
                    </a:moveTo>
                    <a:lnTo>
                      <a:pt x="898" y="624"/>
                    </a:lnTo>
                    <a:lnTo>
                      <a:pt x="884" y="588"/>
                    </a:lnTo>
                    <a:lnTo>
                      <a:pt x="870" y="552"/>
                    </a:lnTo>
                    <a:lnTo>
                      <a:pt x="860" y="516"/>
                    </a:lnTo>
                    <a:lnTo>
                      <a:pt x="850" y="478"/>
                    </a:lnTo>
                    <a:lnTo>
                      <a:pt x="844" y="440"/>
                    </a:lnTo>
                    <a:lnTo>
                      <a:pt x="838" y="400"/>
                    </a:lnTo>
                    <a:lnTo>
                      <a:pt x="834" y="362"/>
                    </a:lnTo>
                    <a:lnTo>
                      <a:pt x="834" y="320"/>
                    </a:lnTo>
                    <a:lnTo>
                      <a:pt x="836" y="270"/>
                    </a:lnTo>
                    <a:lnTo>
                      <a:pt x="840" y="220"/>
                    </a:lnTo>
                    <a:lnTo>
                      <a:pt x="428" y="0"/>
                    </a:lnTo>
                    <a:lnTo>
                      <a:pt x="12" y="118"/>
                    </a:lnTo>
                    <a:lnTo>
                      <a:pt x="6" y="166"/>
                    </a:lnTo>
                    <a:lnTo>
                      <a:pt x="2" y="216"/>
                    </a:lnTo>
                    <a:lnTo>
                      <a:pt x="0" y="266"/>
                    </a:lnTo>
                    <a:lnTo>
                      <a:pt x="0" y="318"/>
                    </a:lnTo>
                    <a:lnTo>
                      <a:pt x="0" y="368"/>
                    </a:lnTo>
                    <a:lnTo>
                      <a:pt x="2" y="418"/>
                    </a:lnTo>
                    <a:lnTo>
                      <a:pt x="6" y="468"/>
                    </a:lnTo>
                    <a:lnTo>
                      <a:pt x="12" y="516"/>
                    </a:lnTo>
                    <a:lnTo>
                      <a:pt x="18" y="566"/>
                    </a:lnTo>
                    <a:lnTo>
                      <a:pt x="26" y="614"/>
                    </a:lnTo>
                    <a:lnTo>
                      <a:pt x="36" y="662"/>
                    </a:lnTo>
                    <a:lnTo>
                      <a:pt x="48" y="708"/>
                    </a:lnTo>
                    <a:lnTo>
                      <a:pt x="60" y="754"/>
                    </a:lnTo>
                    <a:lnTo>
                      <a:pt x="74" y="800"/>
                    </a:lnTo>
                    <a:lnTo>
                      <a:pt x="90" y="846"/>
                    </a:lnTo>
                    <a:lnTo>
                      <a:pt x="106" y="892"/>
                    </a:lnTo>
                    <a:lnTo>
                      <a:pt x="126" y="936"/>
                    </a:lnTo>
                    <a:lnTo>
                      <a:pt x="144" y="978"/>
                    </a:lnTo>
                    <a:lnTo>
                      <a:pt x="166" y="1022"/>
                    </a:lnTo>
                    <a:lnTo>
                      <a:pt x="186" y="1064"/>
                    </a:lnTo>
                    <a:lnTo>
                      <a:pt x="448" y="706"/>
                    </a:lnTo>
                    <a:close/>
                  </a:path>
                </a:pathLst>
              </a:custGeom>
              <a:solidFill>
                <a:schemeClr val="tx1">
                  <a:lumMod val="50000"/>
                  <a:lumOff val="50000"/>
                </a:schemeClr>
              </a:solidFill>
              <a:ln w="9525">
                <a:noFill/>
                <a:round/>
                <a:headEnd/>
                <a:tailEnd/>
              </a:ln>
            </p:spPr>
            <p:txBody>
              <a:bodyPr>
                <a:noAutofit/>
              </a:bodyPr>
              <a:lstStyle/>
              <a:p>
                <a:endParaRPr lang="es-ES_tradnl" sz="1000" dirty="0">
                  <a:solidFill>
                    <a:schemeClr val="bg1"/>
                  </a:solidFill>
                </a:endParaRPr>
              </a:p>
            </p:txBody>
          </p:sp>
          <p:sp>
            <p:nvSpPr>
              <p:cNvPr id="12" name="Freeform 19"/>
              <p:cNvSpPr>
                <a:spLocks/>
              </p:cNvSpPr>
              <p:nvPr/>
            </p:nvSpPr>
            <p:spPr bwMode="auto">
              <a:xfrm>
                <a:off x="5084720" y="2191116"/>
                <a:ext cx="1431096" cy="1615369"/>
              </a:xfrm>
              <a:custGeom>
                <a:avLst/>
                <a:gdLst>
                  <a:gd name="T0" fmla="*/ 1004 w 1004"/>
                  <a:gd name="T1" fmla="*/ 918 h 1134"/>
                  <a:gd name="T2" fmla="*/ 1004 w 1004"/>
                  <a:gd name="T3" fmla="*/ 918 h 1134"/>
                  <a:gd name="T4" fmla="*/ 994 w 1004"/>
                  <a:gd name="T5" fmla="*/ 852 h 1134"/>
                  <a:gd name="T6" fmla="*/ 982 w 1004"/>
                  <a:gd name="T7" fmla="*/ 786 h 1134"/>
                  <a:gd name="T8" fmla="*/ 968 w 1004"/>
                  <a:gd name="T9" fmla="*/ 722 h 1134"/>
                  <a:gd name="T10" fmla="*/ 950 w 1004"/>
                  <a:gd name="T11" fmla="*/ 658 h 1134"/>
                  <a:gd name="T12" fmla="*/ 930 w 1004"/>
                  <a:gd name="T13" fmla="*/ 596 h 1134"/>
                  <a:gd name="T14" fmla="*/ 908 w 1004"/>
                  <a:gd name="T15" fmla="*/ 534 h 1134"/>
                  <a:gd name="T16" fmla="*/ 882 w 1004"/>
                  <a:gd name="T17" fmla="*/ 474 h 1134"/>
                  <a:gd name="T18" fmla="*/ 854 w 1004"/>
                  <a:gd name="T19" fmla="*/ 416 h 1134"/>
                  <a:gd name="T20" fmla="*/ 824 w 1004"/>
                  <a:gd name="T21" fmla="*/ 358 h 1134"/>
                  <a:gd name="T22" fmla="*/ 792 w 1004"/>
                  <a:gd name="T23" fmla="*/ 302 h 1134"/>
                  <a:gd name="T24" fmla="*/ 758 w 1004"/>
                  <a:gd name="T25" fmla="*/ 248 h 1134"/>
                  <a:gd name="T26" fmla="*/ 722 w 1004"/>
                  <a:gd name="T27" fmla="*/ 194 h 1134"/>
                  <a:gd name="T28" fmla="*/ 684 w 1004"/>
                  <a:gd name="T29" fmla="*/ 144 h 1134"/>
                  <a:gd name="T30" fmla="*/ 644 w 1004"/>
                  <a:gd name="T31" fmla="*/ 94 h 1134"/>
                  <a:gd name="T32" fmla="*/ 600 w 1004"/>
                  <a:gd name="T33" fmla="*/ 46 h 1134"/>
                  <a:gd name="T34" fmla="*/ 556 w 1004"/>
                  <a:gd name="T35" fmla="*/ 0 h 1134"/>
                  <a:gd name="T36" fmla="*/ 412 w 1004"/>
                  <a:gd name="T37" fmla="*/ 418 h 1134"/>
                  <a:gd name="T38" fmla="*/ 0 w 1004"/>
                  <a:gd name="T39" fmla="*/ 630 h 1134"/>
                  <a:gd name="T40" fmla="*/ 0 w 1004"/>
                  <a:gd name="T41" fmla="*/ 630 h 1134"/>
                  <a:gd name="T42" fmla="*/ 32 w 1004"/>
                  <a:gd name="T43" fmla="*/ 672 h 1134"/>
                  <a:gd name="T44" fmla="*/ 64 w 1004"/>
                  <a:gd name="T45" fmla="*/ 716 h 1134"/>
                  <a:gd name="T46" fmla="*/ 90 w 1004"/>
                  <a:gd name="T47" fmla="*/ 762 h 1134"/>
                  <a:gd name="T48" fmla="*/ 114 w 1004"/>
                  <a:gd name="T49" fmla="*/ 810 h 1134"/>
                  <a:gd name="T50" fmla="*/ 134 w 1004"/>
                  <a:gd name="T51" fmla="*/ 860 h 1134"/>
                  <a:gd name="T52" fmla="*/ 152 w 1004"/>
                  <a:gd name="T53" fmla="*/ 912 h 1134"/>
                  <a:gd name="T54" fmla="*/ 164 w 1004"/>
                  <a:gd name="T55" fmla="*/ 964 h 1134"/>
                  <a:gd name="T56" fmla="*/ 174 w 1004"/>
                  <a:gd name="T57" fmla="*/ 1020 h 1134"/>
                  <a:gd name="T58" fmla="*/ 628 w 1004"/>
                  <a:gd name="T59" fmla="*/ 1134 h 1134"/>
                  <a:gd name="T60" fmla="*/ 1004 w 1004"/>
                  <a:gd name="T61" fmla="*/ 918 h 11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04"/>
                  <a:gd name="T94" fmla="*/ 0 h 1134"/>
                  <a:gd name="T95" fmla="*/ 1004 w 1004"/>
                  <a:gd name="T96" fmla="*/ 1134 h 11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04" h="1134">
                    <a:moveTo>
                      <a:pt x="1004" y="918"/>
                    </a:moveTo>
                    <a:lnTo>
                      <a:pt x="1004" y="918"/>
                    </a:lnTo>
                    <a:lnTo>
                      <a:pt x="994" y="852"/>
                    </a:lnTo>
                    <a:lnTo>
                      <a:pt x="982" y="786"/>
                    </a:lnTo>
                    <a:lnTo>
                      <a:pt x="968" y="722"/>
                    </a:lnTo>
                    <a:lnTo>
                      <a:pt x="950" y="658"/>
                    </a:lnTo>
                    <a:lnTo>
                      <a:pt x="930" y="596"/>
                    </a:lnTo>
                    <a:lnTo>
                      <a:pt x="908" y="534"/>
                    </a:lnTo>
                    <a:lnTo>
                      <a:pt x="882" y="474"/>
                    </a:lnTo>
                    <a:lnTo>
                      <a:pt x="854" y="416"/>
                    </a:lnTo>
                    <a:lnTo>
                      <a:pt x="824" y="358"/>
                    </a:lnTo>
                    <a:lnTo>
                      <a:pt x="792" y="302"/>
                    </a:lnTo>
                    <a:lnTo>
                      <a:pt x="758" y="248"/>
                    </a:lnTo>
                    <a:lnTo>
                      <a:pt x="722" y="194"/>
                    </a:lnTo>
                    <a:lnTo>
                      <a:pt x="684" y="144"/>
                    </a:lnTo>
                    <a:lnTo>
                      <a:pt x="644" y="94"/>
                    </a:lnTo>
                    <a:lnTo>
                      <a:pt x="600" y="46"/>
                    </a:lnTo>
                    <a:lnTo>
                      <a:pt x="556" y="0"/>
                    </a:lnTo>
                    <a:lnTo>
                      <a:pt x="412" y="418"/>
                    </a:lnTo>
                    <a:lnTo>
                      <a:pt x="0" y="630"/>
                    </a:lnTo>
                    <a:lnTo>
                      <a:pt x="32" y="672"/>
                    </a:lnTo>
                    <a:lnTo>
                      <a:pt x="64" y="716"/>
                    </a:lnTo>
                    <a:lnTo>
                      <a:pt x="90" y="762"/>
                    </a:lnTo>
                    <a:lnTo>
                      <a:pt x="114" y="810"/>
                    </a:lnTo>
                    <a:lnTo>
                      <a:pt x="134" y="860"/>
                    </a:lnTo>
                    <a:lnTo>
                      <a:pt x="152" y="912"/>
                    </a:lnTo>
                    <a:lnTo>
                      <a:pt x="164" y="964"/>
                    </a:lnTo>
                    <a:lnTo>
                      <a:pt x="174" y="1020"/>
                    </a:lnTo>
                    <a:lnTo>
                      <a:pt x="628" y="1134"/>
                    </a:lnTo>
                    <a:lnTo>
                      <a:pt x="1004" y="918"/>
                    </a:lnTo>
                    <a:close/>
                  </a:path>
                </a:pathLst>
              </a:custGeom>
              <a:solidFill>
                <a:schemeClr val="accent2"/>
              </a:solidFill>
              <a:ln w="9525">
                <a:noFill/>
                <a:round/>
                <a:headEnd/>
                <a:tailEnd/>
              </a:ln>
            </p:spPr>
            <p:txBody>
              <a:bodyPr>
                <a:noAutofit/>
              </a:bodyPr>
              <a:lstStyle/>
              <a:p>
                <a:endParaRPr lang="es-ES_tradnl" sz="1000" dirty="0">
                  <a:solidFill>
                    <a:schemeClr val="bg1"/>
                  </a:solidFill>
                </a:endParaRPr>
              </a:p>
            </p:txBody>
          </p:sp>
          <p:sp>
            <p:nvSpPr>
              <p:cNvPr id="13" name="Freeform 20"/>
              <p:cNvSpPr>
                <a:spLocks/>
              </p:cNvSpPr>
              <p:nvPr/>
            </p:nvSpPr>
            <p:spPr bwMode="auto">
              <a:xfrm>
                <a:off x="4386264" y="1538701"/>
                <a:ext cx="1428272" cy="1452978"/>
              </a:xfrm>
              <a:custGeom>
                <a:avLst/>
                <a:gdLst>
                  <a:gd name="T0" fmla="*/ 804 w 938"/>
                  <a:gd name="T1" fmla="*/ 798 h 1020"/>
                  <a:gd name="T2" fmla="*/ 938 w 938"/>
                  <a:gd name="T3" fmla="*/ 386 h 1020"/>
                  <a:gd name="T4" fmla="*/ 938 w 938"/>
                  <a:gd name="T5" fmla="*/ 386 h 1020"/>
                  <a:gd name="T6" fmla="*/ 890 w 938"/>
                  <a:gd name="T7" fmla="*/ 346 h 1020"/>
                  <a:gd name="T8" fmla="*/ 840 w 938"/>
                  <a:gd name="T9" fmla="*/ 306 h 1020"/>
                  <a:gd name="T10" fmla="*/ 790 w 938"/>
                  <a:gd name="T11" fmla="*/ 270 h 1020"/>
                  <a:gd name="T12" fmla="*/ 738 w 938"/>
                  <a:gd name="T13" fmla="*/ 236 h 1020"/>
                  <a:gd name="T14" fmla="*/ 684 w 938"/>
                  <a:gd name="T15" fmla="*/ 204 h 1020"/>
                  <a:gd name="T16" fmla="*/ 628 w 938"/>
                  <a:gd name="T17" fmla="*/ 174 h 1020"/>
                  <a:gd name="T18" fmla="*/ 572 w 938"/>
                  <a:gd name="T19" fmla="*/ 146 h 1020"/>
                  <a:gd name="T20" fmla="*/ 516 w 938"/>
                  <a:gd name="T21" fmla="*/ 120 h 1020"/>
                  <a:gd name="T22" fmla="*/ 456 w 938"/>
                  <a:gd name="T23" fmla="*/ 96 h 1020"/>
                  <a:gd name="T24" fmla="*/ 396 w 938"/>
                  <a:gd name="T25" fmla="*/ 76 h 1020"/>
                  <a:gd name="T26" fmla="*/ 336 w 938"/>
                  <a:gd name="T27" fmla="*/ 56 h 1020"/>
                  <a:gd name="T28" fmla="*/ 274 w 938"/>
                  <a:gd name="T29" fmla="*/ 40 h 1020"/>
                  <a:gd name="T30" fmla="*/ 210 w 938"/>
                  <a:gd name="T31" fmla="*/ 26 h 1020"/>
                  <a:gd name="T32" fmla="*/ 148 w 938"/>
                  <a:gd name="T33" fmla="*/ 16 h 1020"/>
                  <a:gd name="T34" fmla="*/ 82 w 938"/>
                  <a:gd name="T35" fmla="*/ 6 h 1020"/>
                  <a:gd name="T36" fmla="*/ 16 w 938"/>
                  <a:gd name="T37" fmla="*/ 0 h 1020"/>
                  <a:gd name="T38" fmla="*/ 178 w 938"/>
                  <a:gd name="T39" fmla="*/ 416 h 1020"/>
                  <a:gd name="T40" fmla="*/ 0 w 938"/>
                  <a:gd name="T41" fmla="*/ 842 h 1020"/>
                  <a:gd name="T42" fmla="*/ 0 w 938"/>
                  <a:gd name="T43" fmla="*/ 842 h 1020"/>
                  <a:gd name="T44" fmla="*/ 56 w 938"/>
                  <a:gd name="T45" fmla="*/ 852 h 1020"/>
                  <a:gd name="T46" fmla="*/ 110 w 938"/>
                  <a:gd name="T47" fmla="*/ 864 h 1020"/>
                  <a:gd name="T48" fmla="*/ 162 w 938"/>
                  <a:gd name="T49" fmla="*/ 882 h 1020"/>
                  <a:gd name="T50" fmla="*/ 212 w 938"/>
                  <a:gd name="T51" fmla="*/ 904 h 1020"/>
                  <a:gd name="T52" fmla="*/ 260 w 938"/>
                  <a:gd name="T53" fmla="*/ 928 h 1020"/>
                  <a:gd name="T54" fmla="*/ 306 w 938"/>
                  <a:gd name="T55" fmla="*/ 956 h 1020"/>
                  <a:gd name="T56" fmla="*/ 350 w 938"/>
                  <a:gd name="T57" fmla="*/ 986 h 1020"/>
                  <a:gd name="T58" fmla="*/ 390 w 938"/>
                  <a:gd name="T59" fmla="*/ 1020 h 1020"/>
                  <a:gd name="T60" fmla="*/ 804 w 938"/>
                  <a:gd name="T61" fmla="*/ 798 h 102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8"/>
                  <a:gd name="T94" fmla="*/ 0 h 1020"/>
                  <a:gd name="T95" fmla="*/ 938 w 938"/>
                  <a:gd name="T96" fmla="*/ 1020 h 102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8" h="1020">
                    <a:moveTo>
                      <a:pt x="804" y="798"/>
                    </a:moveTo>
                    <a:lnTo>
                      <a:pt x="938" y="386"/>
                    </a:lnTo>
                    <a:lnTo>
                      <a:pt x="890" y="346"/>
                    </a:lnTo>
                    <a:lnTo>
                      <a:pt x="840" y="306"/>
                    </a:lnTo>
                    <a:lnTo>
                      <a:pt x="790" y="270"/>
                    </a:lnTo>
                    <a:lnTo>
                      <a:pt x="738" y="236"/>
                    </a:lnTo>
                    <a:lnTo>
                      <a:pt x="684" y="204"/>
                    </a:lnTo>
                    <a:lnTo>
                      <a:pt x="628" y="174"/>
                    </a:lnTo>
                    <a:lnTo>
                      <a:pt x="572" y="146"/>
                    </a:lnTo>
                    <a:lnTo>
                      <a:pt x="516" y="120"/>
                    </a:lnTo>
                    <a:lnTo>
                      <a:pt x="456" y="96"/>
                    </a:lnTo>
                    <a:lnTo>
                      <a:pt x="396" y="76"/>
                    </a:lnTo>
                    <a:lnTo>
                      <a:pt x="336" y="56"/>
                    </a:lnTo>
                    <a:lnTo>
                      <a:pt x="274" y="40"/>
                    </a:lnTo>
                    <a:lnTo>
                      <a:pt x="210" y="26"/>
                    </a:lnTo>
                    <a:lnTo>
                      <a:pt x="148" y="16"/>
                    </a:lnTo>
                    <a:lnTo>
                      <a:pt x="82" y="6"/>
                    </a:lnTo>
                    <a:lnTo>
                      <a:pt x="16" y="0"/>
                    </a:lnTo>
                    <a:lnTo>
                      <a:pt x="178" y="416"/>
                    </a:lnTo>
                    <a:lnTo>
                      <a:pt x="0" y="842"/>
                    </a:lnTo>
                    <a:lnTo>
                      <a:pt x="56" y="852"/>
                    </a:lnTo>
                    <a:lnTo>
                      <a:pt x="110" y="864"/>
                    </a:lnTo>
                    <a:lnTo>
                      <a:pt x="162" y="882"/>
                    </a:lnTo>
                    <a:lnTo>
                      <a:pt x="212" y="904"/>
                    </a:lnTo>
                    <a:lnTo>
                      <a:pt x="260" y="928"/>
                    </a:lnTo>
                    <a:lnTo>
                      <a:pt x="306" y="956"/>
                    </a:lnTo>
                    <a:lnTo>
                      <a:pt x="350" y="986"/>
                    </a:lnTo>
                    <a:lnTo>
                      <a:pt x="390" y="1020"/>
                    </a:lnTo>
                    <a:lnTo>
                      <a:pt x="804" y="798"/>
                    </a:lnTo>
                    <a:close/>
                  </a:path>
                </a:pathLst>
              </a:custGeom>
              <a:solidFill>
                <a:schemeClr val="accent2"/>
              </a:solidFill>
              <a:ln w="9525">
                <a:noFill/>
                <a:round/>
                <a:headEnd/>
                <a:tailEnd/>
              </a:ln>
            </p:spPr>
            <p:txBody>
              <a:bodyPr>
                <a:noAutofit/>
              </a:bodyPr>
              <a:lstStyle/>
              <a:p>
                <a:endParaRPr lang="es-ES_tradnl" sz="1000" dirty="0">
                  <a:solidFill>
                    <a:schemeClr val="bg1"/>
                  </a:solidFill>
                </a:endParaRPr>
              </a:p>
            </p:txBody>
          </p:sp>
          <p:sp>
            <p:nvSpPr>
              <p:cNvPr id="14" name="Freeform 21"/>
              <p:cNvSpPr>
                <a:spLocks/>
              </p:cNvSpPr>
              <p:nvPr/>
            </p:nvSpPr>
            <p:spPr bwMode="auto">
              <a:xfrm>
                <a:off x="5178796" y="3649791"/>
                <a:ext cx="1354126" cy="1321926"/>
              </a:xfrm>
              <a:custGeom>
                <a:avLst/>
                <a:gdLst>
                  <a:gd name="T0" fmla="*/ 558 w 950"/>
                  <a:gd name="T1" fmla="*/ 212 h 928"/>
                  <a:gd name="T2" fmla="*/ 114 w 950"/>
                  <a:gd name="T3" fmla="*/ 92 h 928"/>
                  <a:gd name="T4" fmla="*/ 114 w 950"/>
                  <a:gd name="T5" fmla="*/ 92 h 928"/>
                  <a:gd name="T6" fmla="*/ 112 w 950"/>
                  <a:gd name="T7" fmla="*/ 144 h 928"/>
                  <a:gd name="T8" fmla="*/ 106 w 950"/>
                  <a:gd name="T9" fmla="*/ 196 h 928"/>
                  <a:gd name="T10" fmla="*/ 96 w 950"/>
                  <a:gd name="T11" fmla="*/ 248 h 928"/>
                  <a:gd name="T12" fmla="*/ 84 w 950"/>
                  <a:gd name="T13" fmla="*/ 298 h 928"/>
                  <a:gd name="T14" fmla="*/ 68 w 950"/>
                  <a:gd name="T15" fmla="*/ 346 h 928"/>
                  <a:gd name="T16" fmla="*/ 48 w 950"/>
                  <a:gd name="T17" fmla="*/ 394 h 928"/>
                  <a:gd name="T18" fmla="*/ 26 w 950"/>
                  <a:gd name="T19" fmla="*/ 438 h 928"/>
                  <a:gd name="T20" fmla="*/ 0 w 950"/>
                  <a:gd name="T21" fmla="*/ 482 h 928"/>
                  <a:gd name="T22" fmla="*/ 284 w 950"/>
                  <a:gd name="T23" fmla="*/ 858 h 928"/>
                  <a:gd name="T24" fmla="*/ 704 w 950"/>
                  <a:gd name="T25" fmla="*/ 928 h 928"/>
                  <a:gd name="T26" fmla="*/ 704 w 950"/>
                  <a:gd name="T27" fmla="*/ 928 h 928"/>
                  <a:gd name="T28" fmla="*/ 734 w 950"/>
                  <a:gd name="T29" fmla="*/ 882 h 928"/>
                  <a:gd name="T30" fmla="*/ 760 w 950"/>
                  <a:gd name="T31" fmla="*/ 834 h 928"/>
                  <a:gd name="T32" fmla="*/ 786 w 950"/>
                  <a:gd name="T33" fmla="*/ 786 h 928"/>
                  <a:gd name="T34" fmla="*/ 808 w 950"/>
                  <a:gd name="T35" fmla="*/ 738 h 928"/>
                  <a:gd name="T36" fmla="*/ 830 w 950"/>
                  <a:gd name="T37" fmla="*/ 688 h 928"/>
                  <a:gd name="T38" fmla="*/ 850 w 950"/>
                  <a:gd name="T39" fmla="*/ 636 h 928"/>
                  <a:gd name="T40" fmla="*/ 868 w 950"/>
                  <a:gd name="T41" fmla="*/ 584 h 928"/>
                  <a:gd name="T42" fmla="*/ 886 w 950"/>
                  <a:gd name="T43" fmla="*/ 532 h 928"/>
                  <a:gd name="T44" fmla="*/ 900 w 950"/>
                  <a:gd name="T45" fmla="*/ 478 h 928"/>
                  <a:gd name="T46" fmla="*/ 914 w 950"/>
                  <a:gd name="T47" fmla="*/ 424 h 928"/>
                  <a:gd name="T48" fmla="*/ 924 w 950"/>
                  <a:gd name="T49" fmla="*/ 370 h 928"/>
                  <a:gd name="T50" fmla="*/ 934 w 950"/>
                  <a:gd name="T51" fmla="*/ 314 h 928"/>
                  <a:gd name="T52" fmla="*/ 940 w 950"/>
                  <a:gd name="T53" fmla="*/ 258 h 928"/>
                  <a:gd name="T54" fmla="*/ 946 w 950"/>
                  <a:gd name="T55" fmla="*/ 200 h 928"/>
                  <a:gd name="T56" fmla="*/ 948 w 950"/>
                  <a:gd name="T57" fmla="*/ 144 h 928"/>
                  <a:gd name="T58" fmla="*/ 950 w 950"/>
                  <a:gd name="T59" fmla="*/ 86 h 928"/>
                  <a:gd name="T60" fmla="*/ 950 w 950"/>
                  <a:gd name="T61" fmla="*/ 86 h 928"/>
                  <a:gd name="T62" fmla="*/ 948 w 950"/>
                  <a:gd name="T63" fmla="*/ 0 h 928"/>
                  <a:gd name="T64" fmla="*/ 558 w 950"/>
                  <a:gd name="T65" fmla="*/ 212 h 9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50"/>
                  <a:gd name="T100" fmla="*/ 0 h 928"/>
                  <a:gd name="T101" fmla="*/ 950 w 950"/>
                  <a:gd name="T102" fmla="*/ 928 h 9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50" h="928">
                    <a:moveTo>
                      <a:pt x="558" y="212"/>
                    </a:moveTo>
                    <a:lnTo>
                      <a:pt x="114" y="92"/>
                    </a:lnTo>
                    <a:lnTo>
                      <a:pt x="112" y="144"/>
                    </a:lnTo>
                    <a:lnTo>
                      <a:pt x="106" y="196"/>
                    </a:lnTo>
                    <a:lnTo>
                      <a:pt x="96" y="248"/>
                    </a:lnTo>
                    <a:lnTo>
                      <a:pt x="84" y="298"/>
                    </a:lnTo>
                    <a:lnTo>
                      <a:pt x="68" y="346"/>
                    </a:lnTo>
                    <a:lnTo>
                      <a:pt x="48" y="394"/>
                    </a:lnTo>
                    <a:lnTo>
                      <a:pt x="26" y="438"/>
                    </a:lnTo>
                    <a:lnTo>
                      <a:pt x="0" y="482"/>
                    </a:lnTo>
                    <a:lnTo>
                      <a:pt x="284" y="858"/>
                    </a:lnTo>
                    <a:lnTo>
                      <a:pt x="704" y="928"/>
                    </a:lnTo>
                    <a:lnTo>
                      <a:pt x="734" y="882"/>
                    </a:lnTo>
                    <a:lnTo>
                      <a:pt x="760" y="834"/>
                    </a:lnTo>
                    <a:lnTo>
                      <a:pt x="786" y="786"/>
                    </a:lnTo>
                    <a:lnTo>
                      <a:pt x="808" y="738"/>
                    </a:lnTo>
                    <a:lnTo>
                      <a:pt x="830" y="688"/>
                    </a:lnTo>
                    <a:lnTo>
                      <a:pt x="850" y="636"/>
                    </a:lnTo>
                    <a:lnTo>
                      <a:pt x="868" y="584"/>
                    </a:lnTo>
                    <a:lnTo>
                      <a:pt x="886" y="532"/>
                    </a:lnTo>
                    <a:lnTo>
                      <a:pt x="900" y="478"/>
                    </a:lnTo>
                    <a:lnTo>
                      <a:pt x="914" y="424"/>
                    </a:lnTo>
                    <a:lnTo>
                      <a:pt x="924" y="370"/>
                    </a:lnTo>
                    <a:lnTo>
                      <a:pt x="934" y="314"/>
                    </a:lnTo>
                    <a:lnTo>
                      <a:pt x="940" y="258"/>
                    </a:lnTo>
                    <a:lnTo>
                      <a:pt x="946" y="200"/>
                    </a:lnTo>
                    <a:lnTo>
                      <a:pt x="948" y="144"/>
                    </a:lnTo>
                    <a:lnTo>
                      <a:pt x="950" y="86"/>
                    </a:lnTo>
                    <a:lnTo>
                      <a:pt x="948" y="0"/>
                    </a:lnTo>
                    <a:lnTo>
                      <a:pt x="558" y="212"/>
                    </a:lnTo>
                    <a:close/>
                  </a:path>
                </a:pathLst>
              </a:custGeom>
              <a:solidFill>
                <a:schemeClr val="accent2"/>
              </a:solidFill>
              <a:ln w="9525">
                <a:noFill/>
                <a:round/>
                <a:headEnd/>
                <a:tailEnd/>
              </a:ln>
            </p:spPr>
            <p:txBody>
              <a:bodyPr>
                <a:noAutofit/>
              </a:bodyPr>
              <a:lstStyle/>
              <a:p>
                <a:endParaRPr lang="es-ES_tradnl" sz="1000" dirty="0">
                  <a:solidFill>
                    <a:schemeClr val="bg1"/>
                  </a:solidFill>
                </a:endParaRPr>
              </a:p>
            </p:txBody>
          </p:sp>
          <p:sp>
            <p:nvSpPr>
              <p:cNvPr id="15" name="Freeform 23"/>
              <p:cNvSpPr>
                <a:spLocks/>
              </p:cNvSpPr>
              <p:nvPr/>
            </p:nvSpPr>
            <p:spPr bwMode="auto">
              <a:xfrm>
                <a:off x="3489326" y="4769439"/>
                <a:ext cx="1431852" cy="1239305"/>
              </a:xfrm>
              <a:custGeom>
                <a:avLst/>
                <a:gdLst>
                  <a:gd name="T0" fmla="*/ 674 w 962"/>
                  <a:gd name="T1" fmla="*/ 478 h 870"/>
                  <a:gd name="T2" fmla="*/ 698 w 962"/>
                  <a:gd name="T3" fmla="*/ 22 h 870"/>
                  <a:gd name="T4" fmla="*/ 698 w 962"/>
                  <a:gd name="T5" fmla="*/ 22 h 870"/>
                  <a:gd name="T6" fmla="*/ 660 w 962"/>
                  <a:gd name="T7" fmla="*/ 30 h 870"/>
                  <a:gd name="T8" fmla="*/ 622 w 962"/>
                  <a:gd name="T9" fmla="*/ 34 h 870"/>
                  <a:gd name="T10" fmla="*/ 582 w 962"/>
                  <a:gd name="T11" fmla="*/ 38 h 870"/>
                  <a:gd name="T12" fmla="*/ 542 w 962"/>
                  <a:gd name="T13" fmla="*/ 38 h 870"/>
                  <a:gd name="T14" fmla="*/ 542 w 962"/>
                  <a:gd name="T15" fmla="*/ 38 h 870"/>
                  <a:gd name="T16" fmla="*/ 512 w 962"/>
                  <a:gd name="T17" fmla="*/ 38 h 870"/>
                  <a:gd name="T18" fmla="*/ 480 w 962"/>
                  <a:gd name="T19" fmla="*/ 36 h 870"/>
                  <a:gd name="T20" fmla="*/ 450 w 962"/>
                  <a:gd name="T21" fmla="*/ 34 h 870"/>
                  <a:gd name="T22" fmla="*/ 422 w 962"/>
                  <a:gd name="T23" fmla="*/ 30 h 870"/>
                  <a:gd name="T24" fmla="*/ 392 w 962"/>
                  <a:gd name="T25" fmla="*/ 24 h 870"/>
                  <a:gd name="T26" fmla="*/ 364 w 962"/>
                  <a:gd name="T27" fmla="*/ 18 h 870"/>
                  <a:gd name="T28" fmla="*/ 308 w 962"/>
                  <a:gd name="T29" fmla="*/ 0 h 870"/>
                  <a:gd name="T30" fmla="*/ 0 w 962"/>
                  <a:gd name="T31" fmla="*/ 362 h 870"/>
                  <a:gd name="T32" fmla="*/ 26 w 962"/>
                  <a:gd name="T33" fmla="*/ 784 h 870"/>
                  <a:gd name="T34" fmla="*/ 26 w 962"/>
                  <a:gd name="T35" fmla="*/ 784 h 870"/>
                  <a:gd name="T36" fmla="*/ 86 w 962"/>
                  <a:gd name="T37" fmla="*/ 804 h 870"/>
                  <a:gd name="T38" fmla="*/ 150 w 962"/>
                  <a:gd name="T39" fmla="*/ 822 h 870"/>
                  <a:gd name="T40" fmla="*/ 212 w 962"/>
                  <a:gd name="T41" fmla="*/ 836 h 870"/>
                  <a:gd name="T42" fmla="*/ 276 w 962"/>
                  <a:gd name="T43" fmla="*/ 848 h 870"/>
                  <a:gd name="T44" fmla="*/ 342 w 962"/>
                  <a:gd name="T45" fmla="*/ 858 h 870"/>
                  <a:gd name="T46" fmla="*/ 408 w 962"/>
                  <a:gd name="T47" fmla="*/ 866 h 870"/>
                  <a:gd name="T48" fmla="*/ 474 w 962"/>
                  <a:gd name="T49" fmla="*/ 870 h 870"/>
                  <a:gd name="T50" fmla="*/ 542 w 962"/>
                  <a:gd name="T51" fmla="*/ 870 h 870"/>
                  <a:gd name="T52" fmla="*/ 542 w 962"/>
                  <a:gd name="T53" fmla="*/ 870 h 870"/>
                  <a:gd name="T54" fmla="*/ 596 w 962"/>
                  <a:gd name="T55" fmla="*/ 870 h 870"/>
                  <a:gd name="T56" fmla="*/ 650 w 962"/>
                  <a:gd name="T57" fmla="*/ 868 h 870"/>
                  <a:gd name="T58" fmla="*/ 704 w 962"/>
                  <a:gd name="T59" fmla="*/ 862 h 870"/>
                  <a:gd name="T60" fmla="*/ 756 w 962"/>
                  <a:gd name="T61" fmla="*/ 856 h 870"/>
                  <a:gd name="T62" fmla="*/ 808 w 962"/>
                  <a:gd name="T63" fmla="*/ 848 h 870"/>
                  <a:gd name="T64" fmla="*/ 860 w 962"/>
                  <a:gd name="T65" fmla="*/ 838 h 870"/>
                  <a:gd name="T66" fmla="*/ 912 w 962"/>
                  <a:gd name="T67" fmla="*/ 828 h 870"/>
                  <a:gd name="T68" fmla="*/ 962 w 962"/>
                  <a:gd name="T69" fmla="*/ 814 h 870"/>
                  <a:gd name="T70" fmla="*/ 674 w 962"/>
                  <a:gd name="T71" fmla="*/ 478 h 8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2"/>
                  <a:gd name="T109" fmla="*/ 0 h 870"/>
                  <a:gd name="T110" fmla="*/ 962 w 962"/>
                  <a:gd name="T111" fmla="*/ 870 h 8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2" h="870">
                    <a:moveTo>
                      <a:pt x="674" y="478"/>
                    </a:moveTo>
                    <a:lnTo>
                      <a:pt x="698" y="22"/>
                    </a:lnTo>
                    <a:lnTo>
                      <a:pt x="660" y="30"/>
                    </a:lnTo>
                    <a:lnTo>
                      <a:pt x="622" y="34"/>
                    </a:lnTo>
                    <a:lnTo>
                      <a:pt x="582" y="38"/>
                    </a:lnTo>
                    <a:lnTo>
                      <a:pt x="542" y="38"/>
                    </a:lnTo>
                    <a:lnTo>
                      <a:pt x="512" y="38"/>
                    </a:lnTo>
                    <a:lnTo>
                      <a:pt x="480" y="36"/>
                    </a:lnTo>
                    <a:lnTo>
                      <a:pt x="450" y="34"/>
                    </a:lnTo>
                    <a:lnTo>
                      <a:pt x="422" y="30"/>
                    </a:lnTo>
                    <a:lnTo>
                      <a:pt x="392" y="24"/>
                    </a:lnTo>
                    <a:lnTo>
                      <a:pt x="364" y="18"/>
                    </a:lnTo>
                    <a:lnTo>
                      <a:pt x="308" y="0"/>
                    </a:lnTo>
                    <a:lnTo>
                      <a:pt x="0" y="362"/>
                    </a:lnTo>
                    <a:lnTo>
                      <a:pt x="26" y="784"/>
                    </a:lnTo>
                    <a:lnTo>
                      <a:pt x="86" y="804"/>
                    </a:lnTo>
                    <a:lnTo>
                      <a:pt x="150" y="822"/>
                    </a:lnTo>
                    <a:lnTo>
                      <a:pt x="212" y="836"/>
                    </a:lnTo>
                    <a:lnTo>
                      <a:pt x="276" y="848"/>
                    </a:lnTo>
                    <a:lnTo>
                      <a:pt x="342" y="858"/>
                    </a:lnTo>
                    <a:lnTo>
                      <a:pt x="408" y="866"/>
                    </a:lnTo>
                    <a:lnTo>
                      <a:pt x="474" y="870"/>
                    </a:lnTo>
                    <a:lnTo>
                      <a:pt x="542" y="870"/>
                    </a:lnTo>
                    <a:lnTo>
                      <a:pt x="596" y="870"/>
                    </a:lnTo>
                    <a:lnTo>
                      <a:pt x="650" y="868"/>
                    </a:lnTo>
                    <a:lnTo>
                      <a:pt x="704" y="862"/>
                    </a:lnTo>
                    <a:lnTo>
                      <a:pt x="756" y="856"/>
                    </a:lnTo>
                    <a:lnTo>
                      <a:pt x="808" y="848"/>
                    </a:lnTo>
                    <a:lnTo>
                      <a:pt x="860" y="838"/>
                    </a:lnTo>
                    <a:lnTo>
                      <a:pt x="912" y="828"/>
                    </a:lnTo>
                    <a:lnTo>
                      <a:pt x="962" y="814"/>
                    </a:lnTo>
                    <a:lnTo>
                      <a:pt x="674" y="478"/>
                    </a:lnTo>
                    <a:close/>
                  </a:path>
                </a:pathLst>
              </a:custGeom>
              <a:solidFill>
                <a:schemeClr val="accent2"/>
              </a:solidFill>
              <a:ln w="9525">
                <a:noFill/>
                <a:round/>
                <a:headEnd/>
                <a:tailEnd/>
              </a:ln>
            </p:spPr>
            <p:txBody>
              <a:bodyPr>
                <a:noAutofit/>
              </a:bodyPr>
              <a:lstStyle/>
              <a:p>
                <a:endParaRPr lang="es-ES_tradnl" sz="1000" dirty="0">
                  <a:solidFill>
                    <a:schemeClr val="bg1"/>
                  </a:solidFill>
                </a:endParaRPr>
              </a:p>
            </p:txBody>
          </p:sp>
          <p:sp>
            <p:nvSpPr>
              <p:cNvPr id="16" name="Freeform 24"/>
              <p:cNvSpPr>
                <a:spLocks/>
              </p:cNvSpPr>
              <p:nvPr/>
            </p:nvSpPr>
            <p:spPr bwMode="auto">
              <a:xfrm>
                <a:off x="2396423" y="4327848"/>
                <a:ext cx="1433948" cy="1504260"/>
              </a:xfrm>
              <a:custGeom>
                <a:avLst/>
                <a:gdLst>
                  <a:gd name="T0" fmla="*/ 698 w 1006"/>
                  <a:gd name="T1" fmla="*/ 622 h 1056"/>
                  <a:gd name="T2" fmla="*/ 1006 w 1006"/>
                  <a:gd name="T3" fmla="*/ 274 h 1056"/>
                  <a:gd name="T4" fmla="*/ 1006 w 1006"/>
                  <a:gd name="T5" fmla="*/ 274 h 1056"/>
                  <a:gd name="T6" fmla="*/ 960 w 1006"/>
                  <a:gd name="T7" fmla="*/ 250 h 1056"/>
                  <a:gd name="T8" fmla="*/ 916 w 1006"/>
                  <a:gd name="T9" fmla="*/ 222 h 1056"/>
                  <a:gd name="T10" fmla="*/ 874 w 1006"/>
                  <a:gd name="T11" fmla="*/ 192 h 1056"/>
                  <a:gd name="T12" fmla="*/ 836 w 1006"/>
                  <a:gd name="T13" fmla="*/ 158 h 1056"/>
                  <a:gd name="T14" fmla="*/ 798 w 1006"/>
                  <a:gd name="T15" fmla="*/ 122 h 1056"/>
                  <a:gd name="T16" fmla="*/ 764 w 1006"/>
                  <a:gd name="T17" fmla="*/ 84 h 1056"/>
                  <a:gd name="T18" fmla="*/ 732 w 1006"/>
                  <a:gd name="T19" fmla="*/ 44 h 1056"/>
                  <a:gd name="T20" fmla="*/ 704 w 1006"/>
                  <a:gd name="T21" fmla="*/ 0 h 1056"/>
                  <a:gd name="T22" fmla="*/ 246 w 1006"/>
                  <a:gd name="T23" fmla="*/ 92 h 1056"/>
                  <a:gd name="T24" fmla="*/ 0 w 1006"/>
                  <a:gd name="T25" fmla="*/ 446 h 1056"/>
                  <a:gd name="T26" fmla="*/ 0 w 1006"/>
                  <a:gd name="T27" fmla="*/ 446 h 1056"/>
                  <a:gd name="T28" fmla="*/ 32 w 1006"/>
                  <a:gd name="T29" fmla="*/ 496 h 1056"/>
                  <a:gd name="T30" fmla="*/ 68 w 1006"/>
                  <a:gd name="T31" fmla="*/ 544 h 1056"/>
                  <a:gd name="T32" fmla="*/ 104 w 1006"/>
                  <a:gd name="T33" fmla="*/ 592 h 1056"/>
                  <a:gd name="T34" fmla="*/ 142 w 1006"/>
                  <a:gd name="T35" fmla="*/ 638 h 1056"/>
                  <a:gd name="T36" fmla="*/ 182 w 1006"/>
                  <a:gd name="T37" fmla="*/ 682 h 1056"/>
                  <a:gd name="T38" fmla="*/ 224 w 1006"/>
                  <a:gd name="T39" fmla="*/ 724 h 1056"/>
                  <a:gd name="T40" fmla="*/ 266 w 1006"/>
                  <a:gd name="T41" fmla="*/ 766 h 1056"/>
                  <a:gd name="T42" fmla="*/ 310 w 1006"/>
                  <a:gd name="T43" fmla="*/ 804 h 1056"/>
                  <a:gd name="T44" fmla="*/ 356 w 1006"/>
                  <a:gd name="T45" fmla="*/ 842 h 1056"/>
                  <a:gd name="T46" fmla="*/ 404 w 1006"/>
                  <a:gd name="T47" fmla="*/ 878 h 1056"/>
                  <a:gd name="T48" fmla="*/ 452 w 1006"/>
                  <a:gd name="T49" fmla="*/ 914 h 1056"/>
                  <a:gd name="T50" fmla="*/ 502 w 1006"/>
                  <a:gd name="T51" fmla="*/ 946 h 1056"/>
                  <a:gd name="T52" fmla="*/ 554 w 1006"/>
                  <a:gd name="T53" fmla="*/ 976 h 1056"/>
                  <a:gd name="T54" fmla="*/ 606 w 1006"/>
                  <a:gd name="T55" fmla="*/ 1004 h 1056"/>
                  <a:gd name="T56" fmla="*/ 660 w 1006"/>
                  <a:gd name="T57" fmla="*/ 1032 h 1056"/>
                  <a:gd name="T58" fmla="*/ 716 w 1006"/>
                  <a:gd name="T59" fmla="*/ 1056 h 1056"/>
                  <a:gd name="T60" fmla="*/ 698 w 1006"/>
                  <a:gd name="T61" fmla="*/ 622 h 10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06"/>
                  <a:gd name="T94" fmla="*/ 0 h 1056"/>
                  <a:gd name="T95" fmla="*/ 1006 w 1006"/>
                  <a:gd name="T96" fmla="*/ 1056 h 10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06" h="1056">
                    <a:moveTo>
                      <a:pt x="698" y="622"/>
                    </a:moveTo>
                    <a:lnTo>
                      <a:pt x="1006" y="274"/>
                    </a:lnTo>
                    <a:lnTo>
                      <a:pt x="960" y="250"/>
                    </a:lnTo>
                    <a:lnTo>
                      <a:pt x="916" y="222"/>
                    </a:lnTo>
                    <a:lnTo>
                      <a:pt x="874" y="192"/>
                    </a:lnTo>
                    <a:lnTo>
                      <a:pt x="836" y="158"/>
                    </a:lnTo>
                    <a:lnTo>
                      <a:pt x="798" y="122"/>
                    </a:lnTo>
                    <a:lnTo>
                      <a:pt x="764" y="84"/>
                    </a:lnTo>
                    <a:lnTo>
                      <a:pt x="732" y="44"/>
                    </a:lnTo>
                    <a:lnTo>
                      <a:pt x="704" y="0"/>
                    </a:lnTo>
                    <a:lnTo>
                      <a:pt x="246" y="92"/>
                    </a:lnTo>
                    <a:lnTo>
                      <a:pt x="0" y="446"/>
                    </a:lnTo>
                    <a:lnTo>
                      <a:pt x="32" y="496"/>
                    </a:lnTo>
                    <a:lnTo>
                      <a:pt x="68" y="544"/>
                    </a:lnTo>
                    <a:lnTo>
                      <a:pt x="104" y="592"/>
                    </a:lnTo>
                    <a:lnTo>
                      <a:pt x="142" y="638"/>
                    </a:lnTo>
                    <a:lnTo>
                      <a:pt x="182" y="682"/>
                    </a:lnTo>
                    <a:lnTo>
                      <a:pt x="224" y="724"/>
                    </a:lnTo>
                    <a:lnTo>
                      <a:pt x="266" y="766"/>
                    </a:lnTo>
                    <a:lnTo>
                      <a:pt x="310" y="804"/>
                    </a:lnTo>
                    <a:lnTo>
                      <a:pt x="356" y="842"/>
                    </a:lnTo>
                    <a:lnTo>
                      <a:pt x="404" y="878"/>
                    </a:lnTo>
                    <a:lnTo>
                      <a:pt x="452" y="914"/>
                    </a:lnTo>
                    <a:lnTo>
                      <a:pt x="502" y="946"/>
                    </a:lnTo>
                    <a:lnTo>
                      <a:pt x="554" y="976"/>
                    </a:lnTo>
                    <a:lnTo>
                      <a:pt x="606" y="1004"/>
                    </a:lnTo>
                    <a:lnTo>
                      <a:pt x="660" y="1032"/>
                    </a:lnTo>
                    <a:lnTo>
                      <a:pt x="716" y="1056"/>
                    </a:lnTo>
                    <a:lnTo>
                      <a:pt x="698" y="622"/>
                    </a:lnTo>
                    <a:close/>
                  </a:path>
                </a:pathLst>
              </a:custGeom>
              <a:solidFill>
                <a:schemeClr val="accent2"/>
              </a:solidFill>
              <a:ln w="9525">
                <a:noFill/>
                <a:round/>
                <a:headEnd/>
                <a:tailEnd/>
              </a:ln>
            </p:spPr>
            <p:txBody>
              <a:bodyPr>
                <a:noAutofit/>
              </a:bodyPr>
              <a:lstStyle/>
              <a:p>
                <a:endParaRPr lang="es-ES_tradnl" sz="1000" dirty="0">
                  <a:solidFill>
                    <a:schemeClr val="bg1"/>
                  </a:solidFill>
                </a:endParaRPr>
              </a:p>
            </p:txBody>
          </p:sp>
          <p:sp>
            <p:nvSpPr>
              <p:cNvPr id="17" name="Rectangle 286"/>
              <p:cNvSpPr txBox="1">
                <a:spLocks noChangeArrowheads="1"/>
              </p:cNvSpPr>
              <p:nvPr/>
            </p:nvSpPr>
            <p:spPr bwMode="auto">
              <a:xfrm>
                <a:off x="4536276" y="2102627"/>
                <a:ext cx="1151262" cy="4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CADENA DE</a:t>
                </a:r>
              </a:p>
              <a:p>
                <a:pPr algn="ctr" defTabSz="677814"/>
                <a:r>
                  <a:rPr lang="es-ES_tradnl" sz="1000" dirty="0">
                    <a:solidFill>
                      <a:schemeClr val="bg1"/>
                    </a:solidFill>
                  </a:rPr>
                  <a:t>ABASTECIMI-ENTO</a:t>
                </a:r>
              </a:p>
            </p:txBody>
          </p:sp>
          <p:sp>
            <p:nvSpPr>
              <p:cNvPr id="18" name="Rectangle 286"/>
              <p:cNvSpPr txBox="1">
                <a:spLocks noChangeArrowheads="1"/>
              </p:cNvSpPr>
              <p:nvPr/>
            </p:nvSpPr>
            <p:spPr bwMode="auto">
              <a:xfrm>
                <a:off x="5220661" y="3135987"/>
                <a:ext cx="1199282" cy="203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COLABORACIÓN Y</a:t>
                </a:r>
              </a:p>
              <a:p>
                <a:pPr algn="ctr" defTabSz="677814"/>
                <a:r>
                  <a:rPr lang="es-ES_tradnl" sz="1000" dirty="0">
                    <a:solidFill>
                      <a:schemeClr val="bg1"/>
                    </a:solidFill>
                  </a:rPr>
                  <a:t>CONTRATACIÓN</a:t>
                </a:r>
              </a:p>
            </p:txBody>
          </p:sp>
          <p:sp>
            <p:nvSpPr>
              <p:cNvPr id="19" name="Rectangle 286"/>
              <p:cNvSpPr txBox="1">
                <a:spLocks noChangeArrowheads="1"/>
              </p:cNvSpPr>
              <p:nvPr/>
            </p:nvSpPr>
            <p:spPr bwMode="auto">
              <a:xfrm>
                <a:off x="5487594" y="4156864"/>
                <a:ext cx="8526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DISEÑO E </a:t>
                </a:r>
              </a:p>
              <a:p>
                <a:pPr algn="ctr" defTabSz="677814"/>
                <a:r>
                  <a:rPr lang="es-ES_tradnl" sz="1000" dirty="0">
                    <a:solidFill>
                      <a:schemeClr val="bg1"/>
                    </a:solidFill>
                  </a:rPr>
                  <a:t>INGENIERÍA</a:t>
                </a:r>
              </a:p>
            </p:txBody>
          </p:sp>
          <p:sp>
            <p:nvSpPr>
              <p:cNvPr id="20" name="Rectangle 286"/>
              <p:cNvSpPr txBox="1">
                <a:spLocks noChangeArrowheads="1"/>
              </p:cNvSpPr>
              <p:nvPr/>
            </p:nvSpPr>
            <p:spPr bwMode="auto">
              <a:xfrm>
                <a:off x="4752466" y="5184530"/>
                <a:ext cx="85266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EJECUCIÓN</a:t>
                </a:r>
              </a:p>
            </p:txBody>
          </p:sp>
          <p:sp>
            <p:nvSpPr>
              <p:cNvPr id="21" name="Rectangle 286"/>
              <p:cNvSpPr txBox="1">
                <a:spLocks noChangeArrowheads="1"/>
              </p:cNvSpPr>
              <p:nvPr/>
            </p:nvSpPr>
            <p:spPr bwMode="auto">
              <a:xfrm>
                <a:off x="3582426" y="5311515"/>
                <a:ext cx="852663" cy="174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TECNOLO-GÍA</a:t>
                </a:r>
              </a:p>
            </p:txBody>
          </p:sp>
          <p:sp>
            <p:nvSpPr>
              <p:cNvPr id="22" name="Rectangle 286"/>
              <p:cNvSpPr txBox="1">
                <a:spLocks noChangeArrowheads="1"/>
              </p:cNvSpPr>
              <p:nvPr/>
            </p:nvSpPr>
            <p:spPr bwMode="auto">
              <a:xfrm>
                <a:off x="2597945" y="4778168"/>
                <a:ext cx="1030908" cy="174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CAPACITACIÓN</a:t>
                </a:r>
              </a:p>
            </p:txBody>
          </p:sp>
          <p:sp>
            <p:nvSpPr>
              <p:cNvPr id="23" name="Rectangle 286"/>
              <p:cNvSpPr txBox="1">
                <a:spLocks noChangeArrowheads="1"/>
              </p:cNvSpPr>
              <p:nvPr/>
            </p:nvSpPr>
            <p:spPr bwMode="auto">
              <a:xfrm>
                <a:off x="2187087" y="3804650"/>
                <a:ext cx="852663" cy="174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SEGURIDAD</a:t>
                </a:r>
              </a:p>
            </p:txBody>
          </p:sp>
          <p:sp>
            <p:nvSpPr>
              <p:cNvPr id="24" name="Rectangle 286"/>
              <p:cNvSpPr txBox="1">
                <a:spLocks noChangeArrowheads="1"/>
              </p:cNvSpPr>
              <p:nvPr/>
            </p:nvSpPr>
            <p:spPr bwMode="auto">
              <a:xfrm>
                <a:off x="2508893" y="2704950"/>
                <a:ext cx="852663" cy="174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RIESGO</a:t>
                </a:r>
              </a:p>
            </p:txBody>
          </p:sp>
          <p:sp>
            <p:nvSpPr>
              <p:cNvPr id="25" name="Rectangle 286"/>
              <p:cNvSpPr txBox="1">
                <a:spLocks noChangeArrowheads="1"/>
              </p:cNvSpPr>
              <p:nvPr/>
            </p:nvSpPr>
            <p:spPr bwMode="auto">
              <a:xfrm>
                <a:off x="3510023" y="2046216"/>
                <a:ext cx="852663" cy="174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dirty="0">
                    <a:solidFill>
                      <a:schemeClr val="bg1"/>
                    </a:solidFill>
                  </a:rPr>
                  <a:t>VENTAS</a:t>
                </a:r>
              </a:p>
            </p:txBody>
          </p:sp>
        </p:grpSp>
        <p:sp>
          <p:nvSpPr>
            <p:cNvPr id="39" name="Arc 38"/>
            <p:cNvSpPr>
              <a:spLocks/>
            </p:cNvSpPr>
            <p:nvPr/>
          </p:nvSpPr>
          <p:spPr>
            <a:xfrm>
              <a:off x="1924050" y="1402807"/>
              <a:ext cx="4739130" cy="4736130"/>
            </a:xfrm>
            <a:prstGeom prst="arc">
              <a:avLst>
                <a:gd name="adj1" fmla="val 16396537"/>
                <a:gd name="adj2" fmla="val 18771728"/>
              </a:avLst>
            </a:prstGeom>
            <a:noFill/>
            <a:ln w="635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77" name="Arc 76"/>
            <p:cNvSpPr>
              <a:spLocks/>
            </p:cNvSpPr>
            <p:nvPr/>
          </p:nvSpPr>
          <p:spPr>
            <a:xfrm>
              <a:off x="1924050" y="1402807"/>
              <a:ext cx="4739130" cy="4736130"/>
            </a:xfrm>
            <a:prstGeom prst="arc">
              <a:avLst>
                <a:gd name="adj1" fmla="val 18910519"/>
                <a:gd name="adj2" fmla="val 21233310"/>
              </a:avLst>
            </a:prstGeom>
            <a:noFill/>
            <a:ln w="635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84" name="Arc 83"/>
            <p:cNvSpPr>
              <a:spLocks/>
            </p:cNvSpPr>
            <p:nvPr/>
          </p:nvSpPr>
          <p:spPr>
            <a:xfrm>
              <a:off x="1924050" y="1402807"/>
              <a:ext cx="4739130" cy="4736130"/>
            </a:xfrm>
            <a:prstGeom prst="arc">
              <a:avLst>
                <a:gd name="adj1" fmla="val 21370844"/>
                <a:gd name="adj2" fmla="val 1962420"/>
              </a:avLst>
            </a:prstGeom>
            <a:noFill/>
            <a:ln w="635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85" name="Arc 84"/>
            <p:cNvSpPr>
              <a:spLocks/>
            </p:cNvSpPr>
            <p:nvPr/>
          </p:nvSpPr>
          <p:spPr>
            <a:xfrm>
              <a:off x="1924050" y="1402807"/>
              <a:ext cx="4739130" cy="4736130"/>
            </a:xfrm>
            <a:prstGeom prst="arc">
              <a:avLst>
                <a:gd name="adj1" fmla="val 2221018"/>
                <a:gd name="adj2" fmla="val 4233953"/>
              </a:avLst>
            </a:prstGeom>
            <a:noFill/>
            <a:ln w="635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86" name="Arc 85"/>
            <p:cNvSpPr>
              <a:spLocks/>
            </p:cNvSpPr>
            <p:nvPr/>
          </p:nvSpPr>
          <p:spPr>
            <a:xfrm>
              <a:off x="1924050" y="1402807"/>
              <a:ext cx="4739130" cy="4736130"/>
            </a:xfrm>
            <a:prstGeom prst="arc">
              <a:avLst>
                <a:gd name="adj1" fmla="val 4427920"/>
                <a:gd name="adj2" fmla="val 6563052"/>
              </a:avLst>
            </a:prstGeom>
            <a:noFill/>
            <a:ln w="635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87" name="Arc 86"/>
            <p:cNvSpPr>
              <a:spLocks/>
            </p:cNvSpPr>
            <p:nvPr/>
          </p:nvSpPr>
          <p:spPr>
            <a:xfrm>
              <a:off x="1924050" y="1402807"/>
              <a:ext cx="4739130" cy="4736130"/>
            </a:xfrm>
            <a:prstGeom prst="arc">
              <a:avLst>
                <a:gd name="adj1" fmla="val 6754621"/>
                <a:gd name="adj2" fmla="val 8871071"/>
              </a:avLst>
            </a:prstGeom>
            <a:noFill/>
            <a:ln w="635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88" name="Arc 87"/>
            <p:cNvSpPr>
              <a:spLocks/>
            </p:cNvSpPr>
            <p:nvPr/>
          </p:nvSpPr>
          <p:spPr>
            <a:xfrm>
              <a:off x="1924050" y="1402807"/>
              <a:ext cx="4739130" cy="4736130"/>
            </a:xfrm>
            <a:prstGeom prst="arc">
              <a:avLst>
                <a:gd name="adj1" fmla="val 9070347"/>
                <a:gd name="adj2" fmla="val 11206714"/>
              </a:avLst>
            </a:prstGeom>
            <a:noFill/>
            <a:ln w="6350">
              <a:solidFill>
                <a:srgbClr val="7F7F7F"/>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89" name="Arc 88"/>
            <p:cNvSpPr>
              <a:spLocks/>
            </p:cNvSpPr>
            <p:nvPr/>
          </p:nvSpPr>
          <p:spPr>
            <a:xfrm>
              <a:off x="1924050" y="1402807"/>
              <a:ext cx="4739130" cy="4736130"/>
            </a:xfrm>
            <a:prstGeom prst="arc">
              <a:avLst>
                <a:gd name="adj1" fmla="val 11391853"/>
                <a:gd name="adj2" fmla="val 13736639"/>
              </a:avLst>
            </a:prstGeom>
            <a:noFill/>
            <a:ln w="6350">
              <a:solidFill>
                <a:srgbClr val="7F7F7F"/>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sp>
          <p:nvSpPr>
            <p:cNvPr id="90" name="Arc 89"/>
            <p:cNvSpPr>
              <a:spLocks/>
            </p:cNvSpPr>
            <p:nvPr/>
          </p:nvSpPr>
          <p:spPr>
            <a:xfrm>
              <a:off x="1924050" y="1402807"/>
              <a:ext cx="4739130" cy="4736130"/>
            </a:xfrm>
            <a:prstGeom prst="arc">
              <a:avLst>
                <a:gd name="adj1" fmla="val 13917700"/>
                <a:gd name="adj2" fmla="val 16195095"/>
              </a:avLst>
            </a:prstGeom>
            <a:noFill/>
            <a:ln w="6350">
              <a:solidFill>
                <a:srgbClr val="7F7F7F"/>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sz="1000" dirty="0"/>
            </a:p>
          </p:txBody>
        </p:sp>
        <p:grpSp>
          <p:nvGrpSpPr>
            <p:cNvPr id="47" name="Group 46"/>
            <p:cNvGrpSpPr>
              <a:grpSpLocks/>
            </p:cNvGrpSpPr>
            <p:nvPr/>
          </p:nvGrpSpPr>
          <p:grpSpPr>
            <a:xfrm>
              <a:off x="3352200" y="2830048"/>
              <a:ext cx="1882852" cy="1881652"/>
              <a:chOff x="9462121" y="7104804"/>
              <a:chExt cx="1877791" cy="1877791"/>
            </a:xfrm>
          </p:grpSpPr>
          <p:sp>
            <p:nvSpPr>
              <p:cNvPr id="93" name="Oval 92"/>
              <p:cNvSpPr/>
              <p:nvPr/>
            </p:nvSpPr>
            <p:spPr>
              <a:xfrm>
                <a:off x="9462121" y="7104804"/>
                <a:ext cx="1877791" cy="1877791"/>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dirty="0">
                  <a:solidFill>
                    <a:schemeClr val="tx1"/>
                  </a:solidFill>
                </a:endParaRPr>
              </a:p>
            </p:txBody>
          </p:sp>
          <p:pic>
            <p:nvPicPr>
              <p:cNvPr id="97" name="Picture 96"/>
              <p:cNvPicPr>
                <a:picLocks/>
              </p:cNvPicPr>
              <p:nvPr/>
            </p:nvPicPr>
            <p:blipFill rotWithShape="1">
              <a:blip r:embed="rId9" cstate="print">
                <a:extLst>
                  <a:ext uri="{28A0092B-C50C-407E-A947-70E740481C1C}">
                    <a14:useLocalDpi xmlns:a14="http://schemas.microsoft.com/office/drawing/2010/main"/>
                  </a:ext>
                </a:extLst>
              </a:blip>
              <a:srcRect/>
              <a:stretch/>
            </p:blipFill>
            <p:spPr>
              <a:xfrm>
                <a:off x="9505669" y="7154981"/>
                <a:ext cx="1791168" cy="1777061"/>
              </a:xfrm>
              <a:prstGeom prst="ellipse">
                <a:avLst/>
              </a:prstGeom>
            </p:spPr>
          </p:pic>
          <p:sp>
            <p:nvSpPr>
              <p:cNvPr id="98" name="Oval 97"/>
              <p:cNvSpPr>
                <a:spLocks/>
              </p:cNvSpPr>
              <p:nvPr/>
            </p:nvSpPr>
            <p:spPr>
              <a:xfrm>
                <a:off x="9473255" y="7139837"/>
                <a:ext cx="1842122" cy="1827614"/>
              </a:xfrm>
              <a:prstGeom prst="ellipse">
                <a:avLst/>
              </a:prstGeom>
              <a:solidFill>
                <a:srgbClr val="FFFFFF">
                  <a:alpha val="80000"/>
                </a:srgbClr>
              </a:solidFill>
              <a:ln w="19050">
                <a:noFill/>
              </a:ln>
              <a:effectLst/>
            </p:spPr>
            <p:txBody>
              <a:bodyPr wrap="square" lIns="74639" tIns="74639" rIns="74639" bIns="74639" anchor="ctr" anchorCtr="1">
                <a:noAutofit/>
              </a:bodyPr>
              <a:lstStyle/>
              <a:p>
                <a:pPr defTabSz="913458"/>
                <a:endParaRPr lang="es-ES_tradnl" sz="1326" dirty="0">
                  <a:latin typeface="+mj-lt"/>
                  <a:cs typeface="Arial" charset="0"/>
                </a:endParaRPr>
              </a:p>
            </p:txBody>
          </p:sp>
        </p:grpSp>
        <p:sp>
          <p:nvSpPr>
            <p:cNvPr id="26" name="Rectangle 286"/>
            <p:cNvSpPr txBox="1">
              <a:spLocks noChangeArrowheads="1"/>
            </p:cNvSpPr>
            <p:nvPr/>
          </p:nvSpPr>
          <p:spPr bwMode="auto">
            <a:xfrm>
              <a:off x="3463517" y="3612705"/>
              <a:ext cx="165736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14"/>
              <a:r>
                <a:rPr lang="es-ES_tradnl" sz="1000" b="1" dirty="0">
                  <a:solidFill>
                    <a:schemeClr val="tx2"/>
                  </a:solidFill>
                </a:rPr>
                <a:t>ENCUESTA DE</a:t>
              </a:r>
            </a:p>
            <a:p>
              <a:pPr algn="ctr" defTabSz="677814"/>
              <a:r>
                <a:rPr lang="es-ES_tradnl" sz="1000" b="1" dirty="0">
                  <a:solidFill>
                    <a:schemeClr val="tx2"/>
                  </a:solidFill>
                </a:rPr>
                <a:t>MEJORES PRÁCTICAS</a:t>
              </a:r>
            </a:p>
          </p:txBody>
        </p:sp>
      </p:grpSp>
      <p:sp>
        <p:nvSpPr>
          <p:cNvPr id="28" name="Rectangle 16"/>
          <p:cNvSpPr>
            <a:spLocks noChangeArrowheads="1"/>
          </p:cNvSpPr>
          <p:nvPr/>
        </p:nvSpPr>
        <p:spPr bwMode="gray">
          <a:xfrm>
            <a:off x="8548352" y="1550089"/>
            <a:ext cx="2791778"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Gestión de proveedores, transporte, suministros, plan de compras, costos y tiempos de entrega</a:t>
            </a:r>
            <a:endParaRPr lang="es-ES_tradnl" sz="1000" b="1" dirty="0">
              <a:cs typeface="Arial" pitchFamily="34" charset="0"/>
            </a:endParaRPr>
          </a:p>
        </p:txBody>
      </p:sp>
      <p:cxnSp>
        <p:nvCxnSpPr>
          <p:cNvPr id="103" name="Straight Connector 102"/>
          <p:cNvCxnSpPr>
            <a:cxnSpLocks/>
          </p:cNvCxnSpPr>
          <p:nvPr/>
        </p:nvCxnSpPr>
        <p:spPr>
          <a:xfrm flipH="1">
            <a:off x="8439599" y="1550089"/>
            <a:ext cx="2" cy="585679"/>
          </a:xfrm>
          <a:prstGeom prst="line">
            <a:avLst/>
          </a:prstGeom>
          <a:noFill/>
          <a:ln w="1270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33" name="Rectangle 16"/>
          <p:cNvSpPr>
            <a:spLocks noChangeArrowheads="1"/>
          </p:cNvSpPr>
          <p:nvPr/>
        </p:nvSpPr>
        <p:spPr bwMode="gray">
          <a:xfrm>
            <a:off x="8548352" y="2498340"/>
            <a:ext cx="2791778"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Colaboración y alianzas empresariales así como contratos de mejor valor e incentivos (licitaciones, etc.)</a:t>
            </a:r>
            <a:endParaRPr lang="es-ES_tradnl" sz="1000" b="1" dirty="0">
              <a:cs typeface="Arial" pitchFamily="34" charset="0"/>
            </a:endParaRPr>
          </a:p>
        </p:txBody>
      </p:sp>
      <p:cxnSp>
        <p:nvCxnSpPr>
          <p:cNvPr id="104" name="Straight Connector 103"/>
          <p:cNvCxnSpPr>
            <a:cxnSpLocks/>
          </p:cNvCxnSpPr>
          <p:nvPr/>
        </p:nvCxnSpPr>
        <p:spPr>
          <a:xfrm flipH="1">
            <a:off x="8439599" y="2498340"/>
            <a:ext cx="2" cy="585678"/>
          </a:xfrm>
          <a:prstGeom prst="line">
            <a:avLst/>
          </a:prstGeom>
          <a:noFill/>
          <a:ln w="1270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37" name="Rectangle 16"/>
          <p:cNvSpPr>
            <a:spLocks noChangeArrowheads="1"/>
          </p:cNvSpPr>
          <p:nvPr/>
        </p:nvSpPr>
        <p:spPr bwMode="gray">
          <a:xfrm>
            <a:off x="8651911" y="3484405"/>
            <a:ext cx="260034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Gestión de productividad, permisos, ruta crítica, planeación, manejo de proyectos, crisis, LEAN, ciclo de vida, etc.</a:t>
            </a:r>
            <a:endParaRPr lang="es-ES_tradnl" sz="1000" b="1" dirty="0">
              <a:cs typeface="Arial" pitchFamily="34" charset="0"/>
            </a:endParaRPr>
          </a:p>
        </p:txBody>
      </p:sp>
      <p:cxnSp>
        <p:nvCxnSpPr>
          <p:cNvPr id="105" name="Straight Connector 104"/>
          <p:cNvCxnSpPr>
            <a:cxnSpLocks/>
          </p:cNvCxnSpPr>
          <p:nvPr/>
        </p:nvCxnSpPr>
        <p:spPr>
          <a:xfrm>
            <a:off x="8544325" y="3484406"/>
            <a:ext cx="0" cy="732097"/>
          </a:xfrm>
          <a:prstGeom prst="line">
            <a:avLst/>
          </a:prstGeom>
          <a:noFill/>
          <a:ln w="1270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41" name="Rectangle 16"/>
          <p:cNvSpPr>
            <a:spLocks noChangeArrowheads="1"/>
          </p:cNvSpPr>
          <p:nvPr/>
        </p:nvSpPr>
        <p:spPr bwMode="gray">
          <a:xfrm>
            <a:off x="8451263" y="4785561"/>
            <a:ext cx="2996100"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defTabSz="877823">
              <a:buClr>
                <a:schemeClr val="tx2"/>
              </a:buClr>
            </a:pPr>
            <a:r>
              <a:rPr lang="es-ES_tradnl" sz="1000" dirty="0"/>
              <a:t>Gestión de proveedores, transporte, suministros, plan de compras, costos y tiempos de entrega</a:t>
            </a:r>
            <a:endParaRPr lang="es-ES_tradnl" sz="1000" b="1" dirty="0">
              <a:cs typeface="Arial" pitchFamily="34" charset="0"/>
            </a:endParaRPr>
          </a:p>
        </p:txBody>
      </p:sp>
      <p:cxnSp>
        <p:nvCxnSpPr>
          <p:cNvPr id="106" name="Straight Connector 105"/>
          <p:cNvCxnSpPr>
            <a:cxnSpLocks/>
          </p:cNvCxnSpPr>
          <p:nvPr/>
        </p:nvCxnSpPr>
        <p:spPr>
          <a:xfrm flipH="1">
            <a:off x="8358076" y="4764741"/>
            <a:ext cx="1" cy="635456"/>
          </a:xfrm>
          <a:prstGeom prst="line">
            <a:avLst/>
          </a:prstGeom>
          <a:noFill/>
          <a:ln w="1270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57" name="Rectangle 16"/>
          <p:cNvSpPr>
            <a:spLocks noChangeArrowheads="1"/>
          </p:cNvSpPr>
          <p:nvPr/>
        </p:nvSpPr>
        <p:spPr bwMode="gray">
          <a:xfrm>
            <a:off x="611443" y="5392911"/>
            <a:ext cx="3702954"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algn="r" defTabSz="877823">
              <a:buClr>
                <a:schemeClr val="tx2"/>
              </a:buClr>
            </a:pPr>
            <a:r>
              <a:rPr lang="es-ES_tradnl" sz="1000" dirty="0"/>
              <a:t>LiDAR, escaneo Laser, BIM, LEAN, ERPs, Modelos 3D, Digitalización, nuevos materiales y métodos constructivos</a:t>
            </a:r>
            <a:endParaRPr lang="es-ES_tradnl" sz="1000" b="1" dirty="0">
              <a:cs typeface="Arial" pitchFamily="34" charset="0"/>
            </a:endParaRPr>
          </a:p>
        </p:txBody>
      </p:sp>
      <p:cxnSp>
        <p:nvCxnSpPr>
          <p:cNvPr id="107" name="Straight Connector 106"/>
          <p:cNvCxnSpPr>
            <a:cxnSpLocks/>
          </p:cNvCxnSpPr>
          <p:nvPr/>
        </p:nvCxnSpPr>
        <p:spPr>
          <a:xfrm flipH="1">
            <a:off x="4376935" y="5412343"/>
            <a:ext cx="5" cy="539074"/>
          </a:xfrm>
          <a:prstGeom prst="line">
            <a:avLst/>
          </a:prstGeom>
          <a:noFill/>
          <a:ln w="12700">
            <a:solidFill>
              <a:schemeClr val="accent2"/>
            </a:solidFill>
            <a:tailEnd type="none" w="sm" len="sm"/>
          </a:ln>
        </p:spPr>
        <p:style>
          <a:lnRef idx="2">
            <a:schemeClr val="accent1">
              <a:shade val="50000"/>
            </a:schemeClr>
          </a:lnRef>
          <a:fillRef idx="1">
            <a:schemeClr val="accent1"/>
          </a:fillRef>
          <a:effectRef idx="0">
            <a:schemeClr val="accent1"/>
          </a:effectRef>
          <a:fontRef idx="minor">
            <a:schemeClr val="lt1"/>
          </a:fontRef>
        </p:style>
      </p:cxnSp>
      <p:cxnSp>
        <p:nvCxnSpPr>
          <p:cNvPr id="114" name="Straight Connector 113"/>
          <p:cNvCxnSpPr>
            <a:cxnSpLocks/>
          </p:cNvCxnSpPr>
          <p:nvPr/>
        </p:nvCxnSpPr>
        <p:spPr>
          <a:xfrm flipV="1">
            <a:off x="3495897" y="2614829"/>
            <a:ext cx="287183" cy="1"/>
          </a:xfrm>
          <a:prstGeom prst="line">
            <a:avLst/>
          </a:prstGeom>
          <a:noFill/>
          <a:ln w="12700">
            <a:solidFill>
              <a:srgbClr val="7F7F7F"/>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16" name="Straight Connector 115"/>
          <p:cNvCxnSpPr>
            <a:cxnSpLocks/>
          </p:cNvCxnSpPr>
          <p:nvPr/>
        </p:nvCxnSpPr>
        <p:spPr>
          <a:xfrm flipV="1">
            <a:off x="3495897" y="4092051"/>
            <a:ext cx="171410" cy="1"/>
          </a:xfrm>
          <a:prstGeom prst="line">
            <a:avLst/>
          </a:prstGeom>
          <a:noFill/>
          <a:ln w="12700">
            <a:solidFill>
              <a:srgbClr val="7F7F7F"/>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p:cNvCxnSpPr>
            <a:cxnSpLocks/>
          </p:cNvCxnSpPr>
          <p:nvPr/>
        </p:nvCxnSpPr>
        <p:spPr>
          <a:xfrm flipV="1">
            <a:off x="3495899" y="4902527"/>
            <a:ext cx="774355" cy="1"/>
          </a:xfrm>
          <a:prstGeom prst="line">
            <a:avLst/>
          </a:prstGeom>
          <a:noFill/>
          <a:ln w="12700">
            <a:solidFill>
              <a:schemeClr val="accent2"/>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20" name="Straight Connector 119"/>
          <p:cNvCxnSpPr>
            <a:cxnSpLocks/>
          </p:cNvCxnSpPr>
          <p:nvPr/>
        </p:nvCxnSpPr>
        <p:spPr>
          <a:xfrm flipH="1">
            <a:off x="7773489" y="5119833"/>
            <a:ext cx="583311" cy="0"/>
          </a:xfrm>
          <a:prstGeom prst="line">
            <a:avLst/>
          </a:prstGeom>
          <a:noFill/>
          <a:ln w="12700">
            <a:solidFill>
              <a:schemeClr val="accent2"/>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21" name="Straight Connector 120"/>
          <p:cNvCxnSpPr>
            <a:cxnSpLocks/>
          </p:cNvCxnSpPr>
          <p:nvPr/>
        </p:nvCxnSpPr>
        <p:spPr>
          <a:xfrm>
            <a:off x="4376044" y="5846715"/>
            <a:ext cx="1145987" cy="11951"/>
          </a:xfrm>
          <a:prstGeom prst="line">
            <a:avLst/>
          </a:prstGeom>
          <a:noFill/>
          <a:ln w="12700">
            <a:solidFill>
              <a:schemeClr val="accent2"/>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32" name="Straight Connector 131"/>
          <p:cNvCxnSpPr>
            <a:cxnSpLocks/>
          </p:cNvCxnSpPr>
          <p:nvPr/>
        </p:nvCxnSpPr>
        <p:spPr>
          <a:xfrm flipH="1">
            <a:off x="8313936" y="3850452"/>
            <a:ext cx="227683" cy="0"/>
          </a:xfrm>
          <a:prstGeom prst="line">
            <a:avLst/>
          </a:prstGeom>
          <a:noFill/>
          <a:ln w="12700">
            <a:solidFill>
              <a:schemeClr val="accent2"/>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34" name="Straight Connector 133"/>
          <p:cNvCxnSpPr>
            <a:cxnSpLocks/>
          </p:cNvCxnSpPr>
          <p:nvPr/>
        </p:nvCxnSpPr>
        <p:spPr>
          <a:xfrm flipH="1">
            <a:off x="8222913" y="2677972"/>
            <a:ext cx="216687" cy="0"/>
          </a:xfrm>
          <a:prstGeom prst="line">
            <a:avLst/>
          </a:prstGeom>
          <a:noFill/>
          <a:ln w="12700">
            <a:solidFill>
              <a:schemeClr val="accent2"/>
            </a:solidFill>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136" name="Straight Connector 135"/>
          <p:cNvCxnSpPr>
            <a:cxnSpLocks/>
          </p:cNvCxnSpPr>
          <p:nvPr/>
        </p:nvCxnSpPr>
        <p:spPr>
          <a:xfrm flipH="1">
            <a:off x="7415461" y="1785378"/>
            <a:ext cx="1024142" cy="0"/>
          </a:xfrm>
          <a:prstGeom prst="line">
            <a:avLst/>
          </a:prstGeom>
          <a:noFill/>
          <a:ln w="12700">
            <a:solidFill>
              <a:schemeClr val="accent2"/>
            </a:solidFill>
            <a:tailEnd type="oval" w="sm" len="sm"/>
          </a:ln>
        </p:spPr>
        <p:style>
          <a:lnRef idx="2">
            <a:schemeClr val="accent1">
              <a:shade val="50000"/>
            </a:schemeClr>
          </a:lnRef>
          <a:fillRef idx="1">
            <a:schemeClr val="accent1"/>
          </a:fillRef>
          <a:effectRef idx="0">
            <a:schemeClr val="accent1"/>
          </a:effectRef>
          <a:fontRef idx="minor">
            <a:schemeClr val="lt1"/>
          </a:fontRef>
        </p:style>
      </p:cxnSp>
      <p:sp>
        <p:nvSpPr>
          <p:cNvPr id="91" name="Oval 90">
            <a:extLst>
              <a:ext uri="{FF2B5EF4-FFF2-40B4-BE49-F238E27FC236}">
                <a16:creationId xmlns:a16="http://schemas.microsoft.com/office/drawing/2014/main" id="{B3ACB799-F0CE-43CF-BD7C-F04DAFDA5C12}"/>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spTree>
    <p:extLst>
      <p:ext uri="{BB962C8B-B14F-4D97-AF65-F5344CB8AC3E}">
        <p14:creationId xmlns:p14="http://schemas.microsoft.com/office/powerpoint/2010/main" val="3609556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1290967342"/>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34274" name="think-cell Slide" r:id="rId15" imgW="524" imgH="526" progId="TCLayout.ActiveDocument.1">
                  <p:embed/>
                </p:oleObj>
              </mc:Choice>
              <mc:Fallback>
                <p:oleObj name="think-cell Slide" r:id="rId15" imgW="524" imgH="526" progId="TCLayout.ActiveDocument.1">
                  <p:embed/>
                  <p:pic>
                    <p:nvPicPr>
                      <p:cNvPr id="20" name="Object 19" hidden="1"/>
                      <p:cNvPicPr/>
                      <p:nvPr/>
                    </p:nvPicPr>
                    <p:blipFill>
                      <a:blip r:embed="rId16"/>
                      <a:stretch>
                        <a:fillRect/>
                      </a:stretch>
                    </p:blipFill>
                    <p:spPr>
                      <a:xfrm>
                        <a:off x="1495426" y="1589"/>
                        <a:ext cx="1586" cy="1586"/>
                      </a:xfrm>
                      <a:prstGeom prst="rect">
                        <a:avLst/>
                      </a:prstGeom>
                    </p:spPr>
                  </p:pic>
                </p:oleObj>
              </mc:Fallback>
            </mc:AlternateContent>
          </a:graphicData>
        </a:graphic>
      </p:graphicFrame>
      <p:sp>
        <p:nvSpPr>
          <p:cNvPr id="7" name="Rectangle 6" hidden="1"/>
          <p:cNvSpPr/>
          <p:nvPr>
            <p:custDataLst>
              <p:tags r:id="rId3"/>
            </p:custDataLst>
          </p:nvPr>
        </p:nvSpPr>
        <p:spPr bwMode="auto">
          <a:xfrm>
            <a:off x="1493837" y="0"/>
            <a:ext cx="158750" cy="15875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CO" sz="1400" dirty="0">
              <a:solidFill>
                <a:schemeClr val="tx1"/>
              </a:solidFill>
              <a:sym typeface="+mn-lt"/>
            </a:endParaRPr>
          </a:p>
        </p:txBody>
      </p:sp>
      <p:sp>
        <p:nvSpPr>
          <p:cNvPr id="169" name="Rectangle 2"/>
          <p:cNvSpPr txBox="1">
            <a:spLocks/>
          </p:cNvSpPr>
          <p:nvPr>
            <p:custDataLst>
              <p:tags r:id="rId4"/>
            </p:custDataLst>
          </p:nvPr>
        </p:nvSpPr>
        <p:spPr>
          <a:xfrm>
            <a:off x="670434" y="1304928"/>
            <a:ext cx="11001795" cy="4419599"/>
          </a:xfrm>
          <a:prstGeom prst="rect">
            <a:avLst/>
          </a:prstGeom>
          <a:solidFill>
            <a:schemeClr val="bg2"/>
          </a:solidFill>
          <a:ln w="9525" algn="ctr">
            <a:solidFill>
              <a:schemeClr val="accent6">
                <a:lumMod val="40000"/>
                <a:lumOff val="60000"/>
              </a:schemeClr>
            </a:solidFill>
            <a:miter lim="800000"/>
            <a:headEnd/>
            <a:tailEnd/>
          </a:ln>
          <a:effectLst/>
        </p:spPr>
        <p:txBody>
          <a:bodyPr vert="horz" wrap="square" lIns="91440" tIns="45719" rIns="91440" bIns="45719" numCol="1" anchor="t" anchorCtr="0" compatLnSpc="1">
            <a:prstTxWarp prst="textNoShape">
              <a:avLst/>
            </a:prstTxWarp>
          </a:bodyPr>
          <a:lstStyle>
            <a:defPPr>
              <a:defRPr lang="en-US"/>
            </a:defPPr>
          </a:lstStyle>
          <a:p>
            <a:endParaRPr lang="es-ES_tradnl" dirty="0"/>
          </a:p>
        </p:txBody>
      </p:sp>
      <p:sp>
        <p:nvSpPr>
          <p:cNvPr id="83" name="Title 1"/>
          <p:cNvSpPr>
            <a:spLocks noGrp="1"/>
          </p:cNvSpPr>
          <p:nvPr>
            <p:ph type="title"/>
          </p:nvPr>
        </p:nvSpPr>
        <p:spPr>
          <a:xfrm>
            <a:off x="739140" y="353604"/>
            <a:ext cx="10401755" cy="92333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39738">
              <a:tabLst>
                <a:tab pos="450850" algn="l"/>
              </a:tabLst>
            </a:pPr>
            <a:r>
              <a:rPr lang="es-ES_tradnl" dirty="0"/>
              <a:t>De las 9 dimensiones, se compararon los resultados de 6 contra las mejores prácticas internacionales de las compañías constructoras más grandes del mundo</a:t>
            </a:r>
          </a:p>
        </p:txBody>
      </p:sp>
      <p:sp>
        <p:nvSpPr>
          <p:cNvPr id="53" name="4. Footnote"/>
          <p:cNvSpPr txBox="1">
            <a:spLocks noChangeArrowheads="1"/>
          </p:cNvSpPr>
          <p:nvPr/>
        </p:nvSpPr>
        <p:spPr bwMode="gray">
          <a:xfrm>
            <a:off x="589449" y="6183549"/>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800" baseline="0">
                <a:solidFill>
                  <a:schemeClr val="accent6"/>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s-ES_tradnl" dirty="0">
                <a:latin typeface="Arial" panose="020B0604020202020204" pitchFamily="34" charset="0"/>
              </a:rPr>
              <a:t>1 % de mejores prácticas contestados con "de acuerdo" o “muy de acuerdo“ de la lista de todas las mejores prácticas </a:t>
            </a:r>
          </a:p>
          <a:p>
            <a:r>
              <a:rPr lang="es-ES_tradnl" dirty="0">
                <a:latin typeface="Arial" panose="020B0604020202020204" pitchFamily="34" charset="0"/>
              </a:rPr>
              <a:t>2 Adopción actual; no incluye planes de adopción en el futuro</a:t>
            </a:r>
          </a:p>
        </p:txBody>
      </p:sp>
      <p:sp>
        <p:nvSpPr>
          <p:cNvPr id="118" name="Round Same Side Corner Rectangle 117"/>
          <p:cNvSpPr>
            <a:spLocks/>
          </p:cNvSpPr>
          <p:nvPr/>
        </p:nvSpPr>
        <p:spPr>
          <a:xfrm>
            <a:off x="670434" y="1304925"/>
            <a:ext cx="11001795" cy="559571"/>
          </a:xfrm>
          <a:prstGeom prst="round2SameRect">
            <a:avLst>
              <a:gd name="adj1" fmla="val 0"/>
              <a:gd name="adj2" fmla="val 0"/>
            </a:avLst>
          </a:prstGeom>
          <a:solidFill>
            <a:schemeClr val="accent2"/>
          </a:solidFill>
          <a:ln w="9525" algn="ctr">
            <a:noFill/>
            <a:miter lim="800000"/>
            <a:headEnd/>
            <a:tailEnd/>
          </a:ln>
          <a:effectLst/>
        </p:spPr>
        <p:txBody>
          <a:bodyPr vert="horz" wrap="square" lIns="125999" tIns="91440" rIns="125999" bIns="91440" numCol="1" anchor="ctr" anchorCtr="0" compatLnSpc="1">
            <a:prstTxWarp prst="textNoShape">
              <a:avLst/>
            </a:prstTxWarp>
            <a:noAutofit/>
          </a:bodyPr>
          <a:lstStyle/>
          <a:p>
            <a:r>
              <a:rPr lang="es-ES_tradnl" sz="1400" b="1" dirty="0">
                <a:solidFill>
                  <a:schemeClr val="bg1"/>
                </a:solidFill>
                <a:latin typeface="+mn-lt"/>
              </a:rPr>
              <a:t>Adopción de mejores prácticas de compañías internacionales</a:t>
            </a:r>
            <a:r>
              <a:rPr lang="es-ES_tradnl" sz="1400" b="1" baseline="30000" dirty="0">
                <a:solidFill>
                  <a:schemeClr val="bg1"/>
                </a:solidFill>
                <a:latin typeface="+mn-lt"/>
              </a:rPr>
              <a:t>1</a:t>
            </a:r>
            <a:endParaRPr lang="es-ES_tradnl" sz="1400" b="1" dirty="0">
              <a:solidFill>
                <a:schemeClr val="bg1"/>
              </a:solidFill>
              <a:latin typeface="+mn-lt"/>
            </a:endParaRPr>
          </a:p>
          <a:p>
            <a:r>
              <a:rPr lang="es-ES_tradnl" sz="1400" dirty="0">
                <a:solidFill>
                  <a:schemeClr val="bg1"/>
                </a:solidFill>
                <a:latin typeface="+mn-lt"/>
              </a:rPr>
              <a:t>% de mejores prácticas contestados con "de acuerdo" o “muy de acuerdo"</a:t>
            </a:r>
          </a:p>
        </p:txBody>
      </p:sp>
      <p:graphicFrame>
        <p:nvGraphicFramePr>
          <p:cNvPr id="2" name="Object 1"/>
          <p:cNvGraphicFramePr>
            <a:graphicFrameLocks/>
          </p:cNvGraphicFramePr>
          <p:nvPr>
            <p:custDataLst>
              <p:tags r:id="rId5"/>
            </p:custDataLst>
            <p:extLst>
              <p:ext uri="{D42A27DB-BD31-4B8C-83A1-F6EECF244321}">
                <p14:modId xmlns:p14="http://schemas.microsoft.com/office/powerpoint/2010/main" val="2991782056"/>
              </p:ext>
            </p:extLst>
          </p:nvPr>
        </p:nvGraphicFramePr>
        <p:xfrm>
          <a:off x="1142999" y="1790700"/>
          <a:ext cx="10149666" cy="3063116"/>
        </p:xfrm>
        <a:graphic>
          <a:graphicData uri="http://schemas.openxmlformats.org/presentationml/2006/ole">
            <mc:AlternateContent xmlns:mc="http://schemas.openxmlformats.org/markup-compatibility/2006">
              <mc:Choice xmlns:v="urn:schemas-microsoft-com:vml" Requires="v">
                <p:oleObj spid="_x0000_s134275" name="Chart" r:id="rId17" imgW="10149666" imgH="3063116" progId="MSGraph.Chart.8">
                  <p:embed followColorScheme="full"/>
                </p:oleObj>
              </mc:Choice>
              <mc:Fallback>
                <p:oleObj name="Chart" r:id="rId17" imgW="10149666" imgH="3063116" progId="MSGraph.Chart.8">
                  <p:embed followColorScheme="full"/>
                  <p:pic>
                    <p:nvPicPr>
                      <p:cNvPr id="2" name="Object 1"/>
                      <p:cNvPicPr/>
                      <p:nvPr/>
                    </p:nvPicPr>
                    <p:blipFill>
                      <a:blip r:embed="rId18"/>
                      <a:stretch>
                        <a:fillRect/>
                      </a:stretch>
                    </p:blipFill>
                    <p:spPr>
                      <a:xfrm>
                        <a:off x="1142999" y="1790700"/>
                        <a:ext cx="10149666" cy="3063116"/>
                      </a:xfrm>
                      <a:prstGeom prst="rect">
                        <a:avLst/>
                      </a:prstGeom>
                    </p:spPr>
                  </p:pic>
                </p:oleObj>
              </mc:Fallback>
            </mc:AlternateContent>
          </a:graphicData>
        </a:graphic>
      </p:graphicFrame>
      <p:sp>
        <p:nvSpPr>
          <p:cNvPr id="65" name="Text Placeholder 2"/>
          <p:cNvSpPr>
            <a:spLocks noGrp="1"/>
          </p:cNvSpPr>
          <p:nvPr>
            <p:custDataLst>
              <p:tags r:id="rId6"/>
            </p:custDataLst>
          </p:nvPr>
        </p:nvSpPr>
        <p:spPr bwMode="auto">
          <a:xfrm>
            <a:off x="9801225" y="4803776"/>
            <a:ext cx="103822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5B52B7B-EC34-4C81-8849-B4BCB5B3A1B7}" type="datetime'C''a''''''p''ac''''''''it''a''''''''''''c''''i''''ón'''''">
              <a:rPr lang="es-ES_tradnl" altLang="en-US" spc="-30">
                <a:sym typeface="+mn-lt"/>
              </a:rPr>
              <a:pPr algn="ctr"/>
              <a:t>Capacitación</a:t>
            </a:fld>
            <a:endParaRPr lang="es-ES_tradnl" spc="-30" dirty="0">
              <a:sym typeface="+mn-lt"/>
            </a:endParaRPr>
          </a:p>
        </p:txBody>
      </p:sp>
      <p:sp>
        <p:nvSpPr>
          <p:cNvPr id="63" name="Text Placeholder 2"/>
          <p:cNvSpPr>
            <a:spLocks noGrp="1"/>
          </p:cNvSpPr>
          <p:nvPr>
            <p:custDataLst>
              <p:tags r:id="rId7"/>
            </p:custDataLst>
          </p:nvPr>
        </p:nvSpPr>
        <p:spPr bwMode="auto">
          <a:xfrm>
            <a:off x="8255000" y="4803776"/>
            <a:ext cx="8699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CED3B9E-E120-48E7-8699-FA4A5D03E26B}" type="datetime'''''''''''Te''c''n''''''ol''''o''''g''''''''''''''''''í''a'''">
              <a:rPr lang="es-ES_tradnl" altLang="en-US" spc="-30">
                <a:sym typeface="+mn-lt"/>
              </a:rPr>
              <a:pPr algn="ctr"/>
              <a:t>Tecnología</a:t>
            </a:fld>
            <a:endParaRPr lang="es-ES_tradnl" spc="-30" dirty="0">
              <a:sym typeface="+mn-lt"/>
            </a:endParaRPr>
          </a:p>
        </p:txBody>
      </p:sp>
      <p:sp>
        <p:nvSpPr>
          <p:cNvPr id="61" name="Text Placeholder 2"/>
          <p:cNvSpPr>
            <a:spLocks noGrp="1"/>
          </p:cNvSpPr>
          <p:nvPr>
            <p:custDataLst>
              <p:tags r:id="rId8"/>
            </p:custDataLst>
          </p:nvPr>
        </p:nvSpPr>
        <p:spPr bwMode="auto">
          <a:xfrm>
            <a:off x="4660900" y="4803776"/>
            <a:ext cx="154940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5DACE27-B294-4F68-804D-15E7CF2E4488}" type="datetime'D''i''''s''e''ño e'''''' In''g''''e''ni''''''e''rí''a'''">
              <a:rPr lang="es-ES_tradnl" altLang="en-US" spc="-41">
                <a:sym typeface="+mn-lt"/>
              </a:rPr>
              <a:pPr algn="ctr"/>
              <a:t>Diseño e Ingeniería</a:t>
            </a:fld>
            <a:endParaRPr lang="es-ES_tradnl" spc="-41" dirty="0">
              <a:sym typeface="+mn-lt"/>
            </a:endParaRPr>
          </a:p>
        </p:txBody>
      </p:sp>
      <p:sp>
        <p:nvSpPr>
          <p:cNvPr id="62" name="Text Placeholder 2"/>
          <p:cNvSpPr>
            <a:spLocks noGrp="1"/>
          </p:cNvSpPr>
          <p:nvPr>
            <p:custDataLst>
              <p:tags r:id="rId9"/>
            </p:custDataLst>
          </p:nvPr>
        </p:nvSpPr>
        <p:spPr bwMode="auto">
          <a:xfrm>
            <a:off x="6672263" y="4803776"/>
            <a:ext cx="7826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090F662-69D4-4AEE-AABE-23820C1F108F}" type="datetime'''E''''''''''''''je''''''''''c''u''''c''i''''ó''''''n'''">
              <a:rPr lang="es-ES_tradnl" altLang="en-US" spc="-30">
                <a:sym typeface="+mn-lt"/>
              </a:rPr>
              <a:pPr algn="ctr"/>
              <a:t>Ejecución</a:t>
            </a:fld>
            <a:endParaRPr lang="es-ES_tradnl" spc="-30" dirty="0">
              <a:sym typeface="+mn-lt"/>
            </a:endParaRPr>
          </a:p>
        </p:txBody>
      </p:sp>
      <p:sp>
        <p:nvSpPr>
          <p:cNvPr id="60" name="Text Placeholder 2"/>
          <p:cNvSpPr>
            <a:spLocks noGrp="1"/>
          </p:cNvSpPr>
          <p:nvPr>
            <p:custDataLst>
              <p:tags r:id="rId10"/>
            </p:custDataLst>
          </p:nvPr>
        </p:nvSpPr>
        <p:spPr bwMode="auto">
          <a:xfrm>
            <a:off x="3227388" y="4803775"/>
            <a:ext cx="1155700"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94A4725-FEB6-49FA-B324-EB66ED0357A3}" type="datetime'''Co''l''a''bor''ac''i''ón y'' Co''nt''''r''''atac''''ión'">
              <a:rPr lang="es-ES_tradnl" altLang="en-US" spc="-41">
                <a:sym typeface="+mn-lt"/>
              </a:rPr>
              <a:pPr algn="ctr"/>
              <a:t>Colaboración y Contratación</a:t>
            </a:fld>
            <a:endParaRPr lang="es-ES_tradnl" spc="-41" dirty="0">
              <a:sym typeface="+mn-lt"/>
            </a:endParaRPr>
          </a:p>
        </p:txBody>
      </p:sp>
      <p:sp>
        <p:nvSpPr>
          <p:cNvPr id="59" name="Text Placeholder 2"/>
          <p:cNvSpPr>
            <a:spLocks noGrp="1"/>
          </p:cNvSpPr>
          <p:nvPr>
            <p:custDataLst>
              <p:tags r:id="rId11"/>
            </p:custDataLst>
          </p:nvPr>
        </p:nvSpPr>
        <p:spPr bwMode="auto">
          <a:xfrm>
            <a:off x="1641475" y="4803777"/>
            <a:ext cx="1066799" cy="6381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E14C9A5-EFBB-46A3-BD32-19B57C088B20}" type="datetime'Ge''stión &#10;de'' la caden''''a ''&#10;''de'''' s''uministr''''o'">
              <a:rPr lang="es-ES_tradnl" altLang="en-US" spc="-41">
                <a:sym typeface="+mn-lt"/>
              </a:rPr>
              <a:pPr algn="ctr"/>
              <a:t>Gestión 
de la cadena 
de suministro</a:t>
            </a:fld>
            <a:endParaRPr lang="es-ES_tradnl" spc="-41" dirty="0">
              <a:sym typeface="+mn-lt"/>
            </a:endParaRPr>
          </a:p>
        </p:txBody>
      </p:sp>
      <p:sp>
        <p:nvSpPr>
          <p:cNvPr id="42" name="1. On-page tracker"/>
          <p:cNvSpPr>
            <a:spLocks noChangeArrowheads="1"/>
          </p:cNvSpPr>
          <p:nvPr/>
        </p:nvSpPr>
        <p:spPr bwMode="gray">
          <a:xfrm>
            <a:off x="739141" y="75764"/>
            <a:ext cx="231826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39738"/>
            <a:r>
              <a:rPr lang="es-ES_tradnl" sz="800" cap="all" dirty="0">
                <a:solidFill>
                  <a:schemeClr val="accent6"/>
                </a:solidFill>
                <a:latin typeface="+mn-lt"/>
              </a:rPr>
              <a:t>ENCUESTA DE MEJORES PRÁCTICAS</a:t>
            </a:r>
          </a:p>
        </p:txBody>
      </p:sp>
      <p:sp>
        <p:nvSpPr>
          <p:cNvPr id="51" name="Rectangle 5"/>
          <p:cNvSpPr txBox="1"/>
          <p:nvPr>
            <p:custDataLst>
              <p:tags r:id="rId12"/>
            </p:custDataLst>
          </p:nvPr>
        </p:nvSpPr>
        <p:spPr>
          <a:xfrm>
            <a:off x="1909828" y="5528603"/>
            <a:ext cx="8362822" cy="328822"/>
          </a:xfrm>
          <a:prstGeom prst="rect">
            <a:avLst/>
          </a:prstGeom>
          <a:solidFill>
            <a:schemeClr val="accent3"/>
          </a:solidFill>
          <a:ln>
            <a:noFill/>
          </a:ln>
        </p:spPr>
        <p:txBody>
          <a:bodyPr vert="horz" lIns="76200" tIns="76200" rIns="76200" bIns="76200"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spcBef>
                <a:spcPct val="40000"/>
              </a:spcBef>
              <a:buClr>
                <a:schemeClr val="bg1"/>
              </a:buClr>
            </a:pPr>
            <a:r>
              <a:rPr lang="es-ES_tradnl" b="1" dirty="0">
                <a:solidFill>
                  <a:schemeClr val="bg1"/>
                </a:solidFill>
              </a:rPr>
              <a:t>En promedio las empresas internacionales han implementado el 67% de las mejores prácticas</a:t>
            </a:r>
          </a:p>
        </p:txBody>
      </p:sp>
      <p:grpSp>
        <p:nvGrpSpPr>
          <p:cNvPr id="22" name="Group 21"/>
          <p:cNvGrpSpPr>
            <a:grpSpLocks/>
          </p:cNvGrpSpPr>
          <p:nvPr/>
        </p:nvGrpSpPr>
        <p:grpSpPr>
          <a:xfrm>
            <a:off x="791472" y="1939235"/>
            <a:ext cx="351527" cy="348091"/>
            <a:chOff x="413596" y="3807010"/>
            <a:chExt cx="232410" cy="232410"/>
          </a:xfrm>
        </p:grpSpPr>
        <p:sp>
          <p:nvSpPr>
            <p:cNvPr id="23" name="Oval 22"/>
            <p:cNvSpPr>
              <a:spLocks/>
            </p:cNvSpPr>
            <p:nvPr/>
          </p:nvSpPr>
          <p:spPr>
            <a:xfrm>
              <a:off x="413596" y="3807010"/>
              <a:ext cx="232410" cy="232410"/>
            </a:xfrm>
            <a:prstGeom prst="ellipse">
              <a:avLst/>
            </a:prstGeom>
            <a:solidFill>
              <a:srgbClr val="92D050"/>
            </a:solidFill>
            <a:ln w="9525">
              <a:solidFill>
                <a:srgbClr val="B2B2B2"/>
              </a:solid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sz="1000" b="1" dirty="0">
                <a:solidFill>
                  <a:schemeClr val="bg1"/>
                </a:solidFill>
              </a:endParaRPr>
            </a:p>
          </p:txBody>
        </p:sp>
        <p:sp>
          <p:nvSpPr>
            <p:cNvPr id="24" name="Freeform 23"/>
            <p:cNvSpPr>
              <a:spLocks noEditPoints="1"/>
            </p:cNvSpPr>
            <p:nvPr/>
          </p:nvSpPr>
          <p:spPr bwMode="auto">
            <a:xfrm>
              <a:off x="413596" y="3807010"/>
              <a:ext cx="232410" cy="232410"/>
            </a:xfrm>
            <a:custGeom>
              <a:avLst/>
              <a:gdLst>
                <a:gd name="T0" fmla="*/ 52 w 106"/>
                <a:gd name="T1" fmla="*/ 43 h 105"/>
                <a:gd name="T2" fmla="*/ 72 w 106"/>
                <a:gd name="T3" fmla="*/ 65 h 105"/>
                <a:gd name="T4" fmla="*/ 53 w 106"/>
                <a:gd name="T5" fmla="*/ 0 h 105"/>
                <a:gd name="T6" fmla="*/ 53 w 106"/>
                <a:gd name="T7" fmla="*/ 0 h 105"/>
                <a:gd name="T8" fmla="*/ 78 w 106"/>
                <a:gd name="T9" fmla="*/ 23 h 105"/>
                <a:gd name="T10" fmla="*/ 68 w 106"/>
                <a:gd name="T11" fmla="*/ 21 h 105"/>
                <a:gd name="T12" fmla="*/ 69 w 106"/>
                <a:gd name="T13" fmla="*/ 17 h 105"/>
                <a:gd name="T14" fmla="*/ 63 w 106"/>
                <a:gd name="T15" fmla="*/ 16 h 105"/>
                <a:gd name="T16" fmla="*/ 61 w 106"/>
                <a:gd name="T17" fmla="*/ 18 h 105"/>
                <a:gd name="T18" fmla="*/ 56 w 106"/>
                <a:gd name="T19" fmla="*/ 16 h 105"/>
                <a:gd name="T20" fmla="*/ 50 w 106"/>
                <a:gd name="T21" fmla="*/ 15 h 105"/>
                <a:gd name="T22" fmla="*/ 48 w 106"/>
                <a:gd name="T23" fmla="*/ 15 h 105"/>
                <a:gd name="T24" fmla="*/ 48 w 106"/>
                <a:gd name="T25" fmla="*/ 24 h 105"/>
                <a:gd name="T26" fmla="*/ 53 w 106"/>
                <a:gd name="T27" fmla="*/ 26 h 105"/>
                <a:gd name="T28" fmla="*/ 58 w 106"/>
                <a:gd name="T29" fmla="*/ 19 h 105"/>
                <a:gd name="T30" fmla="*/ 65 w 106"/>
                <a:gd name="T31" fmla="*/ 22 h 105"/>
                <a:gd name="T32" fmla="*/ 60 w 106"/>
                <a:gd name="T33" fmla="*/ 31 h 105"/>
                <a:gd name="T34" fmla="*/ 66 w 106"/>
                <a:gd name="T35" fmla="*/ 32 h 105"/>
                <a:gd name="T36" fmla="*/ 71 w 106"/>
                <a:gd name="T37" fmla="*/ 32 h 105"/>
                <a:gd name="T38" fmla="*/ 63 w 106"/>
                <a:gd name="T39" fmla="*/ 33 h 105"/>
                <a:gd name="T40" fmla="*/ 56 w 106"/>
                <a:gd name="T41" fmla="*/ 38 h 105"/>
                <a:gd name="T42" fmla="*/ 54 w 106"/>
                <a:gd name="T43" fmla="*/ 42 h 105"/>
                <a:gd name="T44" fmla="*/ 44 w 106"/>
                <a:gd name="T45" fmla="*/ 45 h 105"/>
                <a:gd name="T46" fmla="*/ 47 w 106"/>
                <a:gd name="T47" fmla="*/ 53 h 105"/>
                <a:gd name="T48" fmla="*/ 51 w 106"/>
                <a:gd name="T49" fmla="*/ 58 h 105"/>
                <a:gd name="T50" fmla="*/ 61 w 106"/>
                <a:gd name="T51" fmla="*/ 57 h 105"/>
                <a:gd name="T52" fmla="*/ 71 w 106"/>
                <a:gd name="T53" fmla="*/ 61 h 105"/>
                <a:gd name="T54" fmla="*/ 73 w 106"/>
                <a:gd name="T55" fmla="*/ 66 h 105"/>
                <a:gd name="T56" fmla="*/ 83 w 106"/>
                <a:gd name="T57" fmla="*/ 68 h 105"/>
                <a:gd name="T58" fmla="*/ 79 w 106"/>
                <a:gd name="T59" fmla="*/ 79 h 105"/>
                <a:gd name="T60" fmla="*/ 74 w 106"/>
                <a:gd name="T61" fmla="*/ 83 h 105"/>
                <a:gd name="T62" fmla="*/ 68 w 106"/>
                <a:gd name="T63" fmla="*/ 89 h 105"/>
                <a:gd name="T64" fmla="*/ 61 w 106"/>
                <a:gd name="T65" fmla="*/ 97 h 105"/>
                <a:gd name="T66" fmla="*/ 57 w 106"/>
                <a:gd name="T67" fmla="*/ 96 h 105"/>
                <a:gd name="T68" fmla="*/ 59 w 106"/>
                <a:gd name="T69" fmla="*/ 81 h 105"/>
                <a:gd name="T70" fmla="*/ 52 w 106"/>
                <a:gd name="T71" fmla="*/ 69 h 105"/>
                <a:gd name="T72" fmla="*/ 54 w 106"/>
                <a:gd name="T73" fmla="*/ 59 h 105"/>
                <a:gd name="T74" fmla="*/ 46 w 106"/>
                <a:gd name="T75" fmla="*/ 56 h 105"/>
                <a:gd name="T76" fmla="*/ 35 w 106"/>
                <a:gd name="T77" fmla="*/ 49 h 105"/>
                <a:gd name="T78" fmla="*/ 32 w 106"/>
                <a:gd name="T79" fmla="*/ 48 h 105"/>
                <a:gd name="T80" fmla="*/ 25 w 106"/>
                <a:gd name="T81" fmla="*/ 40 h 105"/>
                <a:gd name="T82" fmla="*/ 21 w 106"/>
                <a:gd name="T83" fmla="*/ 27 h 105"/>
                <a:gd name="T84" fmla="*/ 36 w 106"/>
                <a:gd name="T85" fmla="*/ 10 h 105"/>
                <a:gd name="T86" fmla="*/ 34 w 106"/>
                <a:gd name="T87" fmla="*/ 13 h 105"/>
                <a:gd name="T88" fmla="*/ 40 w 106"/>
                <a:gd name="T89" fmla="*/ 12 h 105"/>
                <a:gd name="T90" fmla="*/ 44 w 106"/>
                <a:gd name="T91" fmla="*/ 11 h 105"/>
                <a:gd name="T92" fmla="*/ 47 w 106"/>
                <a:gd name="T93" fmla="*/ 8 h 105"/>
                <a:gd name="T94" fmla="*/ 44 w 106"/>
                <a:gd name="T95" fmla="*/ 7 h 105"/>
                <a:gd name="T96" fmla="*/ 59 w 106"/>
                <a:gd name="T97" fmla="*/ 7 h 105"/>
                <a:gd name="T98" fmla="*/ 62 w 106"/>
                <a:gd name="T99" fmla="*/ 6 h 105"/>
                <a:gd name="T100" fmla="*/ 96 w 106"/>
                <a:gd name="T101" fmla="*/ 38 h 105"/>
                <a:gd name="T102" fmla="*/ 99 w 106"/>
                <a:gd name="T103" fmla="*/ 43 h 105"/>
                <a:gd name="T104" fmla="*/ 95 w 106"/>
                <a:gd name="T105" fmla="*/ 42 h 105"/>
                <a:gd name="T106" fmla="*/ 93 w 106"/>
                <a:gd name="T107" fmla="*/ 60 h 105"/>
                <a:gd name="T108" fmla="*/ 95 w 106"/>
                <a:gd name="T109" fmla="*/ 50 h 105"/>
                <a:gd name="T110" fmla="*/ 100 w 106"/>
                <a:gd name="T111"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6" h="105">
                  <a:moveTo>
                    <a:pt x="52" y="43"/>
                  </a:moveTo>
                  <a:cubicBezTo>
                    <a:pt x="52" y="43"/>
                    <a:pt x="52" y="43"/>
                    <a:pt x="52" y="43"/>
                  </a:cubicBezTo>
                  <a:cubicBezTo>
                    <a:pt x="52" y="43"/>
                    <a:pt x="52" y="43"/>
                    <a:pt x="52" y="43"/>
                  </a:cubicBezTo>
                  <a:cubicBezTo>
                    <a:pt x="52" y="43"/>
                    <a:pt x="52" y="43"/>
                    <a:pt x="52" y="43"/>
                  </a:cubicBezTo>
                  <a:close/>
                  <a:moveTo>
                    <a:pt x="72" y="65"/>
                  </a:moveTo>
                  <a:cubicBezTo>
                    <a:pt x="72" y="65"/>
                    <a:pt x="72" y="65"/>
                    <a:pt x="72" y="65"/>
                  </a:cubicBezTo>
                  <a:cubicBezTo>
                    <a:pt x="72" y="65"/>
                    <a:pt x="72" y="65"/>
                    <a:pt x="72" y="65"/>
                  </a:cubicBezTo>
                  <a:cubicBezTo>
                    <a:pt x="72" y="65"/>
                    <a:pt x="72" y="65"/>
                    <a:pt x="72" y="65"/>
                  </a:cubicBezTo>
                  <a:close/>
                  <a:moveTo>
                    <a:pt x="73" y="65"/>
                  </a:moveTo>
                  <a:cubicBezTo>
                    <a:pt x="73" y="65"/>
                    <a:pt x="72" y="65"/>
                    <a:pt x="72" y="65"/>
                  </a:cubicBezTo>
                  <a:cubicBezTo>
                    <a:pt x="72" y="65"/>
                    <a:pt x="72" y="66"/>
                    <a:pt x="73" y="65"/>
                  </a:cubicBezTo>
                  <a:close/>
                  <a:moveTo>
                    <a:pt x="53" y="0"/>
                  </a:moveTo>
                  <a:cubicBezTo>
                    <a:pt x="24" y="0"/>
                    <a:pt x="0" y="23"/>
                    <a:pt x="0" y="52"/>
                  </a:cubicBezTo>
                  <a:cubicBezTo>
                    <a:pt x="0" y="81"/>
                    <a:pt x="24" y="105"/>
                    <a:pt x="53" y="105"/>
                  </a:cubicBezTo>
                  <a:cubicBezTo>
                    <a:pt x="82" y="105"/>
                    <a:pt x="106" y="81"/>
                    <a:pt x="106" y="52"/>
                  </a:cubicBezTo>
                  <a:cubicBezTo>
                    <a:pt x="106" y="23"/>
                    <a:pt x="82" y="0"/>
                    <a:pt x="53" y="0"/>
                  </a:cubicBezTo>
                  <a:close/>
                  <a:moveTo>
                    <a:pt x="87" y="20"/>
                  </a:moveTo>
                  <a:cubicBezTo>
                    <a:pt x="85" y="20"/>
                    <a:pt x="84" y="20"/>
                    <a:pt x="82" y="21"/>
                  </a:cubicBezTo>
                  <a:cubicBezTo>
                    <a:pt x="82" y="22"/>
                    <a:pt x="81" y="22"/>
                    <a:pt x="80" y="22"/>
                  </a:cubicBezTo>
                  <a:cubicBezTo>
                    <a:pt x="80" y="22"/>
                    <a:pt x="79" y="22"/>
                    <a:pt x="78" y="23"/>
                  </a:cubicBezTo>
                  <a:cubicBezTo>
                    <a:pt x="76" y="23"/>
                    <a:pt x="76" y="28"/>
                    <a:pt x="73" y="28"/>
                  </a:cubicBezTo>
                  <a:cubicBezTo>
                    <a:pt x="72" y="27"/>
                    <a:pt x="71" y="26"/>
                    <a:pt x="70" y="24"/>
                  </a:cubicBezTo>
                  <a:cubicBezTo>
                    <a:pt x="69" y="23"/>
                    <a:pt x="68" y="23"/>
                    <a:pt x="69" y="21"/>
                  </a:cubicBezTo>
                  <a:cubicBezTo>
                    <a:pt x="69" y="21"/>
                    <a:pt x="68" y="21"/>
                    <a:pt x="68" y="21"/>
                  </a:cubicBezTo>
                  <a:cubicBezTo>
                    <a:pt x="68" y="20"/>
                    <a:pt x="70" y="20"/>
                    <a:pt x="70" y="20"/>
                  </a:cubicBezTo>
                  <a:cubicBezTo>
                    <a:pt x="71" y="18"/>
                    <a:pt x="68" y="18"/>
                    <a:pt x="68" y="18"/>
                  </a:cubicBezTo>
                  <a:cubicBezTo>
                    <a:pt x="68" y="17"/>
                    <a:pt x="69" y="18"/>
                    <a:pt x="70" y="18"/>
                  </a:cubicBezTo>
                  <a:cubicBezTo>
                    <a:pt x="71" y="18"/>
                    <a:pt x="69" y="17"/>
                    <a:pt x="69" y="17"/>
                  </a:cubicBezTo>
                  <a:cubicBezTo>
                    <a:pt x="69" y="17"/>
                    <a:pt x="66" y="18"/>
                    <a:pt x="67" y="16"/>
                  </a:cubicBezTo>
                  <a:cubicBezTo>
                    <a:pt x="65" y="15"/>
                    <a:pt x="63" y="13"/>
                    <a:pt x="61" y="12"/>
                  </a:cubicBezTo>
                  <a:cubicBezTo>
                    <a:pt x="61" y="13"/>
                    <a:pt x="64" y="14"/>
                    <a:pt x="65" y="15"/>
                  </a:cubicBezTo>
                  <a:cubicBezTo>
                    <a:pt x="65" y="15"/>
                    <a:pt x="64" y="16"/>
                    <a:pt x="63" y="16"/>
                  </a:cubicBezTo>
                  <a:cubicBezTo>
                    <a:pt x="62" y="16"/>
                    <a:pt x="63" y="15"/>
                    <a:pt x="62" y="15"/>
                  </a:cubicBezTo>
                  <a:cubicBezTo>
                    <a:pt x="61" y="17"/>
                    <a:pt x="63" y="16"/>
                    <a:pt x="63" y="17"/>
                  </a:cubicBezTo>
                  <a:cubicBezTo>
                    <a:pt x="64" y="18"/>
                    <a:pt x="62" y="18"/>
                    <a:pt x="62" y="18"/>
                  </a:cubicBezTo>
                  <a:cubicBezTo>
                    <a:pt x="62" y="18"/>
                    <a:pt x="61" y="17"/>
                    <a:pt x="61" y="18"/>
                  </a:cubicBezTo>
                  <a:cubicBezTo>
                    <a:pt x="61" y="18"/>
                    <a:pt x="62" y="18"/>
                    <a:pt x="62" y="19"/>
                  </a:cubicBezTo>
                  <a:cubicBezTo>
                    <a:pt x="61" y="19"/>
                    <a:pt x="60" y="18"/>
                    <a:pt x="59" y="17"/>
                  </a:cubicBezTo>
                  <a:cubicBezTo>
                    <a:pt x="57" y="16"/>
                    <a:pt x="56" y="17"/>
                    <a:pt x="55" y="17"/>
                  </a:cubicBezTo>
                  <a:cubicBezTo>
                    <a:pt x="55" y="16"/>
                    <a:pt x="56" y="16"/>
                    <a:pt x="56" y="16"/>
                  </a:cubicBezTo>
                  <a:cubicBezTo>
                    <a:pt x="57" y="16"/>
                    <a:pt x="58" y="15"/>
                    <a:pt x="58" y="14"/>
                  </a:cubicBezTo>
                  <a:cubicBezTo>
                    <a:pt x="58" y="13"/>
                    <a:pt x="58" y="14"/>
                    <a:pt x="57" y="13"/>
                  </a:cubicBezTo>
                  <a:cubicBezTo>
                    <a:pt x="56" y="12"/>
                    <a:pt x="55" y="11"/>
                    <a:pt x="54" y="11"/>
                  </a:cubicBezTo>
                  <a:cubicBezTo>
                    <a:pt x="51" y="10"/>
                    <a:pt x="53" y="14"/>
                    <a:pt x="50" y="15"/>
                  </a:cubicBezTo>
                  <a:cubicBezTo>
                    <a:pt x="50" y="15"/>
                    <a:pt x="50" y="15"/>
                    <a:pt x="50" y="15"/>
                  </a:cubicBezTo>
                  <a:cubicBezTo>
                    <a:pt x="50" y="15"/>
                    <a:pt x="50" y="15"/>
                    <a:pt x="50" y="15"/>
                  </a:cubicBezTo>
                  <a:cubicBezTo>
                    <a:pt x="50" y="15"/>
                    <a:pt x="50" y="15"/>
                    <a:pt x="50" y="15"/>
                  </a:cubicBezTo>
                  <a:cubicBezTo>
                    <a:pt x="50" y="15"/>
                    <a:pt x="49" y="15"/>
                    <a:pt x="48" y="15"/>
                  </a:cubicBezTo>
                  <a:cubicBezTo>
                    <a:pt x="48" y="15"/>
                    <a:pt x="48" y="16"/>
                    <a:pt x="47" y="17"/>
                  </a:cubicBezTo>
                  <a:cubicBezTo>
                    <a:pt x="47" y="17"/>
                    <a:pt x="46" y="17"/>
                    <a:pt x="45" y="18"/>
                  </a:cubicBezTo>
                  <a:cubicBezTo>
                    <a:pt x="45" y="18"/>
                    <a:pt x="43" y="19"/>
                    <a:pt x="43" y="20"/>
                  </a:cubicBezTo>
                  <a:cubicBezTo>
                    <a:pt x="42" y="23"/>
                    <a:pt x="46" y="23"/>
                    <a:pt x="48" y="24"/>
                  </a:cubicBezTo>
                  <a:cubicBezTo>
                    <a:pt x="49" y="25"/>
                    <a:pt x="51" y="25"/>
                    <a:pt x="51" y="26"/>
                  </a:cubicBezTo>
                  <a:cubicBezTo>
                    <a:pt x="52" y="27"/>
                    <a:pt x="51" y="27"/>
                    <a:pt x="52" y="28"/>
                  </a:cubicBezTo>
                  <a:cubicBezTo>
                    <a:pt x="52" y="28"/>
                    <a:pt x="53" y="28"/>
                    <a:pt x="54" y="28"/>
                  </a:cubicBezTo>
                  <a:cubicBezTo>
                    <a:pt x="54" y="27"/>
                    <a:pt x="53" y="27"/>
                    <a:pt x="53" y="26"/>
                  </a:cubicBezTo>
                  <a:cubicBezTo>
                    <a:pt x="53" y="25"/>
                    <a:pt x="53" y="25"/>
                    <a:pt x="54" y="25"/>
                  </a:cubicBezTo>
                  <a:cubicBezTo>
                    <a:pt x="55" y="24"/>
                    <a:pt x="55" y="24"/>
                    <a:pt x="55" y="22"/>
                  </a:cubicBezTo>
                  <a:cubicBezTo>
                    <a:pt x="54" y="21"/>
                    <a:pt x="54" y="19"/>
                    <a:pt x="54" y="19"/>
                  </a:cubicBezTo>
                  <a:cubicBezTo>
                    <a:pt x="55" y="18"/>
                    <a:pt x="57" y="19"/>
                    <a:pt x="58" y="19"/>
                  </a:cubicBezTo>
                  <a:cubicBezTo>
                    <a:pt x="59" y="19"/>
                    <a:pt x="60" y="21"/>
                    <a:pt x="60" y="21"/>
                  </a:cubicBezTo>
                  <a:cubicBezTo>
                    <a:pt x="60" y="21"/>
                    <a:pt x="61" y="22"/>
                    <a:pt x="62" y="22"/>
                  </a:cubicBezTo>
                  <a:cubicBezTo>
                    <a:pt x="62" y="22"/>
                    <a:pt x="62" y="21"/>
                    <a:pt x="63" y="21"/>
                  </a:cubicBezTo>
                  <a:cubicBezTo>
                    <a:pt x="64" y="20"/>
                    <a:pt x="64" y="21"/>
                    <a:pt x="65" y="22"/>
                  </a:cubicBezTo>
                  <a:cubicBezTo>
                    <a:pt x="65" y="24"/>
                    <a:pt x="66" y="24"/>
                    <a:pt x="67" y="25"/>
                  </a:cubicBezTo>
                  <a:cubicBezTo>
                    <a:pt x="67" y="25"/>
                    <a:pt x="69" y="27"/>
                    <a:pt x="69" y="27"/>
                  </a:cubicBezTo>
                  <a:cubicBezTo>
                    <a:pt x="69" y="28"/>
                    <a:pt x="67" y="29"/>
                    <a:pt x="66" y="29"/>
                  </a:cubicBezTo>
                  <a:cubicBezTo>
                    <a:pt x="64" y="30"/>
                    <a:pt x="60" y="28"/>
                    <a:pt x="60" y="31"/>
                  </a:cubicBezTo>
                  <a:cubicBezTo>
                    <a:pt x="60" y="31"/>
                    <a:pt x="63" y="29"/>
                    <a:pt x="64" y="30"/>
                  </a:cubicBezTo>
                  <a:cubicBezTo>
                    <a:pt x="64" y="30"/>
                    <a:pt x="63" y="31"/>
                    <a:pt x="63" y="31"/>
                  </a:cubicBezTo>
                  <a:cubicBezTo>
                    <a:pt x="64" y="33"/>
                    <a:pt x="65" y="32"/>
                    <a:pt x="66" y="32"/>
                  </a:cubicBezTo>
                  <a:cubicBezTo>
                    <a:pt x="66" y="32"/>
                    <a:pt x="66" y="32"/>
                    <a:pt x="66" y="32"/>
                  </a:cubicBezTo>
                  <a:cubicBezTo>
                    <a:pt x="67" y="31"/>
                    <a:pt x="67" y="32"/>
                    <a:pt x="67" y="30"/>
                  </a:cubicBezTo>
                  <a:cubicBezTo>
                    <a:pt x="68" y="30"/>
                    <a:pt x="68" y="29"/>
                    <a:pt x="68" y="29"/>
                  </a:cubicBezTo>
                  <a:cubicBezTo>
                    <a:pt x="69" y="28"/>
                    <a:pt x="69" y="29"/>
                    <a:pt x="70" y="29"/>
                  </a:cubicBezTo>
                  <a:cubicBezTo>
                    <a:pt x="70" y="29"/>
                    <a:pt x="72" y="32"/>
                    <a:pt x="71" y="32"/>
                  </a:cubicBezTo>
                  <a:cubicBezTo>
                    <a:pt x="69" y="31"/>
                    <a:pt x="68" y="31"/>
                    <a:pt x="66" y="32"/>
                  </a:cubicBezTo>
                  <a:cubicBezTo>
                    <a:pt x="65" y="33"/>
                    <a:pt x="64" y="33"/>
                    <a:pt x="63" y="34"/>
                  </a:cubicBezTo>
                  <a:cubicBezTo>
                    <a:pt x="63" y="34"/>
                    <a:pt x="61" y="34"/>
                    <a:pt x="62" y="34"/>
                  </a:cubicBezTo>
                  <a:cubicBezTo>
                    <a:pt x="62" y="33"/>
                    <a:pt x="63" y="33"/>
                    <a:pt x="63" y="33"/>
                  </a:cubicBezTo>
                  <a:cubicBezTo>
                    <a:pt x="62" y="32"/>
                    <a:pt x="61" y="33"/>
                    <a:pt x="60" y="34"/>
                  </a:cubicBezTo>
                  <a:cubicBezTo>
                    <a:pt x="60" y="34"/>
                    <a:pt x="59" y="35"/>
                    <a:pt x="58" y="36"/>
                  </a:cubicBezTo>
                  <a:cubicBezTo>
                    <a:pt x="58" y="36"/>
                    <a:pt x="57" y="36"/>
                    <a:pt x="57" y="37"/>
                  </a:cubicBezTo>
                  <a:cubicBezTo>
                    <a:pt x="57" y="37"/>
                    <a:pt x="57" y="38"/>
                    <a:pt x="56" y="38"/>
                  </a:cubicBezTo>
                  <a:cubicBezTo>
                    <a:pt x="56" y="38"/>
                    <a:pt x="56" y="38"/>
                    <a:pt x="55" y="39"/>
                  </a:cubicBezTo>
                  <a:cubicBezTo>
                    <a:pt x="55" y="39"/>
                    <a:pt x="56" y="40"/>
                    <a:pt x="56" y="40"/>
                  </a:cubicBezTo>
                  <a:cubicBezTo>
                    <a:pt x="55" y="41"/>
                    <a:pt x="54" y="41"/>
                    <a:pt x="53" y="42"/>
                  </a:cubicBezTo>
                  <a:cubicBezTo>
                    <a:pt x="53" y="42"/>
                    <a:pt x="54" y="42"/>
                    <a:pt x="54" y="42"/>
                  </a:cubicBezTo>
                  <a:cubicBezTo>
                    <a:pt x="53" y="42"/>
                    <a:pt x="52" y="43"/>
                    <a:pt x="52" y="43"/>
                  </a:cubicBezTo>
                  <a:cubicBezTo>
                    <a:pt x="52" y="44"/>
                    <a:pt x="53" y="46"/>
                    <a:pt x="53" y="47"/>
                  </a:cubicBezTo>
                  <a:cubicBezTo>
                    <a:pt x="52" y="48"/>
                    <a:pt x="51" y="46"/>
                    <a:pt x="51" y="45"/>
                  </a:cubicBezTo>
                  <a:cubicBezTo>
                    <a:pt x="49" y="43"/>
                    <a:pt x="46" y="44"/>
                    <a:pt x="44" y="45"/>
                  </a:cubicBezTo>
                  <a:cubicBezTo>
                    <a:pt x="42" y="45"/>
                    <a:pt x="39" y="48"/>
                    <a:pt x="41" y="51"/>
                  </a:cubicBezTo>
                  <a:cubicBezTo>
                    <a:pt x="42" y="52"/>
                    <a:pt x="43" y="53"/>
                    <a:pt x="44" y="52"/>
                  </a:cubicBezTo>
                  <a:cubicBezTo>
                    <a:pt x="46" y="52"/>
                    <a:pt x="46" y="50"/>
                    <a:pt x="47" y="50"/>
                  </a:cubicBezTo>
                  <a:cubicBezTo>
                    <a:pt x="49" y="50"/>
                    <a:pt x="47" y="52"/>
                    <a:pt x="47" y="53"/>
                  </a:cubicBezTo>
                  <a:cubicBezTo>
                    <a:pt x="47" y="54"/>
                    <a:pt x="47" y="54"/>
                    <a:pt x="48" y="54"/>
                  </a:cubicBezTo>
                  <a:cubicBezTo>
                    <a:pt x="49" y="54"/>
                    <a:pt x="50" y="54"/>
                    <a:pt x="50" y="54"/>
                  </a:cubicBezTo>
                  <a:cubicBezTo>
                    <a:pt x="50" y="55"/>
                    <a:pt x="50" y="56"/>
                    <a:pt x="51" y="55"/>
                  </a:cubicBezTo>
                  <a:cubicBezTo>
                    <a:pt x="50" y="56"/>
                    <a:pt x="50" y="58"/>
                    <a:pt x="51" y="58"/>
                  </a:cubicBezTo>
                  <a:cubicBezTo>
                    <a:pt x="52" y="59"/>
                    <a:pt x="53" y="58"/>
                    <a:pt x="54" y="59"/>
                  </a:cubicBezTo>
                  <a:cubicBezTo>
                    <a:pt x="56" y="59"/>
                    <a:pt x="55" y="58"/>
                    <a:pt x="57" y="57"/>
                  </a:cubicBezTo>
                  <a:cubicBezTo>
                    <a:pt x="58" y="57"/>
                    <a:pt x="58" y="58"/>
                    <a:pt x="59" y="58"/>
                  </a:cubicBezTo>
                  <a:cubicBezTo>
                    <a:pt x="60" y="58"/>
                    <a:pt x="60" y="57"/>
                    <a:pt x="61" y="57"/>
                  </a:cubicBezTo>
                  <a:cubicBezTo>
                    <a:pt x="61" y="57"/>
                    <a:pt x="62" y="58"/>
                    <a:pt x="63" y="58"/>
                  </a:cubicBezTo>
                  <a:cubicBezTo>
                    <a:pt x="63" y="58"/>
                    <a:pt x="63" y="58"/>
                    <a:pt x="64" y="58"/>
                  </a:cubicBezTo>
                  <a:cubicBezTo>
                    <a:pt x="65" y="58"/>
                    <a:pt x="67" y="59"/>
                    <a:pt x="68" y="60"/>
                  </a:cubicBezTo>
                  <a:cubicBezTo>
                    <a:pt x="69" y="61"/>
                    <a:pt x="69" y="61"/>
                    <a:pt x="71" y="61"/>
                  </a:cubicBezTo>
                  <a:cubicBezTo>
                    <a:pt x="72" y="61"/>
                    <a:pt x="73" y="62"/>
                    <a:pt x="73" y="64"/>
                  </a:cubicBezTo>
                  <a:cubicBezTo>
                    <a:pt x="73" y="64"/>
                    <a:pt x="72" y="65"/>
                    <a:pt x="72" y="65"/>
                  </a:cubicBezTo>
                  <a:cubicBezTo>
                    <a:pt x="72" y="65"/>
                    <a:pt x="74" y="65"/>
                    <a:pt x="75" y="65"/>
                  </a:cubicBezTo>
                  <a:cubicBezTo>
                    <a:pt x="74" y="65"/>
                    <a:pt x="73" y="66"/>
                    <a:pt x="73" y="66"/>
                  </a:cubicBezTo>
                  <a:cubicBezTo>
                    <a:pt x="73" y="66"/>
                    <a:pt x="74" y="66"/>
                    <a:pt x="74" y="66"/>
                  </a:cubicBezTo>
                  <a:cubicBezTo>
                    <a:pt x="75" y="64"/>
                    <a:pt x="76" y="66"/>
                    <a:pt x="77" y="66"/>
                  </a:cubicBezTo>
                  <a:cubicBezTo>
                    <a:pt x="78" y="67"/>
                    <a:pt x="79" y="67"/>
                    <a:pt x="80" y="67"/>
                  </a:cubicBezTo>
                  <a:cubicBezTo>
                    <a:pt x="81" y="67"/>
                    <a:pt x="83" y="68"/>
                    <a:pt x="83" y="68"/>
                  </a:cubicBezTo>
                  <a:cubicBezTo>
                    <a:pt x="84" y="69"/>
                    <a:pt x="84" y="70"/>
                    <a:pt x="83" y="71"/>
                  </a:cubicBezTo>
                  <a:cubicBezTo>
                    <a:pt x="82" y="72"/>
                    <a:pt x="81" y="73"/>
                    <a:pt x="81" y="74"/>
                  </a:cubicBezTo>
                  <a:cubicBezTo>
                    <a:pt x="80" y="75"/>
                    <a:pt x="81" y="76"/>
                    <a:pt x="80" y="77"/>
                  </a:cubicBezTo>
                  <a:cubicBezTo>
                    <a:pt x="80" y="79"/>
                    <a:pt x="80" y="78"/>
                    <a:pt x="79" y="79"/>
                  </a:cubicBezTo>
                  <a:cubicBezTo>
                    <a:pt x="78" y="80"/>
                    <a:pt x="79" y="80"/>
                    <a:pt x="78" y="80"/>
                  </a:cubicBezTo>
                  <a:cubicBezTo>
                    <a:pt x="77" y="81"/>
                    <a:pt x="76" y="81"/>
                    <a:pt x="75" y="82"/>
                  </a:cubicBezTo>
                  <a:cubicBezTo>
                    <a:pt x="75" y="82"/>
                    <a:pt x="75" y="82"/>
                    <a:pt x="75" y="82"/>
                  </a:cubicBezTo>
                  <a:cubicBezTo>
                    <a:pt x="75" y="82"/>
                    <a:pt x="74" y="83"/>
                    <a:pt x="74" y="83"/>
                  </a:cubicBezTo>
                  <a:cubicBezTo>
                    <a:pt x="74" y="84"/>
                    <a:pt x="73" y="85"/>
                    <a:pt x="73" y="85"/>
                  </a:cubicBezTo>
                  <a:cubicBezTo>
                    <a:pt x="72" y="86"/>
                    <a:pt x="70" y="89"/>
                    <a:pt x="70" y="88"/>
                  </a:cubicBezTo>
                  <a:cubicBezTo>
                    <a:pt x="70" y="88"/>
                    <a:pt x="68" y="89"/>
                    <a:pt x="68" y="88"/>
                  </a:cubicBezTo>
                  <a:cubicBezTo>
                    <a:pt x="68" y="89"/>
                    <a:pt x="68" y="89"/>
                    <a:pt x="68" y="89"/>
                  </a:cubicBezTo>
                  <a:cubicBezTo>
                    <a:pt x="68" y="91"/>
                    <a:pt x="67" y="92"/>
                    <a:pt x="65" y="92"/>
                  </a:cubicBezTo>
                  <a:cubicBezTo>
                    <a:pt x="65" y="93"/>
                    <a:pt x="64" y="93"/>
                    <a:pt x="63" y="93"/>
                  </a:cubicBezTo>
                  <a:cubicBezTo>
                    <a:pt x="63" y="94"/>
                    <a:pt x="63" y="95"/>
                    <a:pt x="63" y="95"/>
                  </a:cubicBezTo>
                  <a:cubicBezTo>
                    <a:pt x="62" y="95"/>
                    <a:pt x="61" y="97"/>
                    <a:pt x="61" y="97"/>
                  </a:cubicBezTo>
                  <a:cubicBezTo>
                    <a:pt x="61" y="97"/>
                    <a:pt x="62" y="97"/>
                    <a:pt x="62" y="98"/>
                  </a:cubicBezTo>
                  <a:cubicBezTo>
                    <a:pt x="60" y="98"/>
                    <a:pt x="59" y="98"/>
                    <a:pt x="57" y="99"/>
                  </a:cubicBezTo>
                  <a:cubicBezTo>
                    <a:pt x="57" y="98"/>
                    <a:pt x="57" y="98"/>
                    <a:pt x="56" y="98"/>
                  </a:cubicBezTo>
                  <a:cubicBezTo>
                    <a:pt x="56" y="97"/>
                    <a:pt x="57" y="96"/>
                    <a:pt x="57" y="96"/>
                  </a:cubicBezTo>
                  <a:cubicBezTo>
                    <a:pt x="58" y="95"/>
                    <a:pt x="57" y="95"/>
                    <a:pt x="58" y="95"/>
                  </a:cubicBezTo>
                  <a:cubicBezTo>
                    <a:pt x="58" y="94"/>
                    <a:pt x="58" y="94"/>
                    <a:pt x="58" y="93"/>
                  </a:cubicBezTo>
                  <a:cubicBezTo>
                    <a:pt x="57" y="91"/>
                    <a:pt x="58" y="90"/>
                    <a:pt x="58" y="88"/>
                  </a:cubicBezTo>
                  <a:cubicBezTo>
                    <a:pt x="59" y="86"/>
                    <a:pt x="59" y="84"/>
                    <a:pt x="59" y="81"/>
                  </a:cubicBezTo>
                  <a:cubicBezTo>
                    <a:pt x="60" y="80"/>
                    <a:pt x="60" y="78"/>
                    <a:pt x="59" y="77"/>
                  </a:cubicBezTo>
                  <a:cubicBezTo>
                    <a:pt x="59" y="76"/>
                    <a:pt x="57" y="75"/>
                    <a:pt x="56" y="74"/>
                  </a:cubicBezTo>
                  <a:cubicBezTo>
                    <a:pt x="55" y="73"/>
                    <a:pt x="55" y="72"/>
                    <a:pt x="54" y="71"/>
                  </a:cubicBezTo>
                  <a:cubicBezTo>
                    <a:pt x="53" y="70"/>
                    <a:pt x="53" y="69"/>
                    <a:pt x="52" y="69"/>
                  </a:cubicBezTo>
                  <a:cubicBezTo>
                    <a:pt x="52" y="67"/>
                    <a:pt x="52" y="68"/>
                    <a:pt x="52" y="67"/>
                  </a:cubicBezTo>
                  <a:cubicBezTo>
                    <a:pt x="53" y="66"/>
                    <a:pt x="52" y="65"/>
                    <a:pt x="53" y="64"/>
                  </a:cubicBezTo>
                  <a:cubicBezTo>
                    <a:pt x="53" y="63"/>
                    <a:pt x="54" y="63"/>
                    <a:pt x="54" y="62"/>
                  </a:cubicBezTo>
                  <a:cubicBezTo>
                    <a:pt x="55" y="61"/>
                    <a:pt x="54" y="60"/>
                    <a:pt x="54" y="59"/>
                  </a:cubicBezTo>
                  <a:cubicBezTo>
                    <a:pt x="53" y="59"/>
                    <a:pt x="52" y="59"/>
                    <a:pt x="52" y="59"/>
                  </a:cubicBezTo>
                  <a:cubicBezTo>
                    <a:pt x="51" y="59"/>
                    <a:pt x="50" y="59"/>
                    <a:pt x="50" y="58"/>
                  </a:cubicBezTo>
                  <a:cubicBezTo>
                    <a:pt x="49" y="58"/>
                    <a:pt x="49" y="57"/>
                    <a:pt x="48" y="56"/>
                  </a:cubicBezTo>
                  <a:cubicBezTo>
                    <a:pt x="47" y="56"/>
                    <a:pt x="46" y="56"/>
                    <a:pt x="46" y="56"/>
                  </a:cubicBezTo>
                  <a:cubicBezTo>
                    <a:pt x="45" y="55"/>
                    <a:pt x="44" y="54"/>
                    <a:pt x="44" y="54"/>
                  </a:cubicBezTo>
                  <a:cubicBezTo>
                    <a:pt x="43" y="54"/>
                    <a:pt x="42" y="54"/>
                    <a:pt x="41" y="54"/>
                  </a:cubicBezTo>
                  <a:cubicBezTo>
                    <a:pt x="40" y="54"/>
                    <a:pt x="39" y="53"/>
                    <a:pt x="38" y="53"/>
                  </a:cubicBezTo>
                  <a:cubicBezTo>
                    <a:pt x="36" y="52"/>
                    <a:pt x="35" y="51"/>
                    <a:pt x="35" y="49"/>
                  </a:cubicBezTo>
                  <a:cubicBezTo>
                    <a:pt x="34" y="48"/>
                    <a:pt x="33" y="47"/>
                    <a:pt x="32" y="46"/>
                  </a:cubicBezTo>
                  <a:cubicBezTo>
                    <a:pt x="31" y="45"/>
                    <a:pt x="31" y="44"/>
                    <a:pt x="29" y="43"/>
                  </a:cubicBezTo>
                  <a:cubicBezTo>
                    <a:pt x="29" y="43"/>
                    <a:pt x="30" y="45"/>
                    <a:pt x="30" y="45"/>
                  </a:cubicBezTo>
                  <a:cubicBezTo>
                    <a:pt x="30" y="46"/>
                    <a:pt x="31" y="47"/>
                    <a:pt x="32" y="48"/>
                  </a:cubicBezTo>
                  <a:cubicBezTo>
                    <a:pt x="33" y="49"/>
                    <a:pt x="32" y="49"/>
                    <a:pt x="31" y="48"/>
                  </a:cubicBezTo>
                  <a:cubicBezTo>
                    <a:pt x="30" y="46"/>
                    <a:pt x="29" y="45"/>
                    <a:pt x="28" y="43"/>
                  </a:cubicBezTo>
                  <a:cubicBezTo>
                    <a:pt x="27" y="43"/>
                    <a:pt x="28" y="42"/>
                    <a:pt x="27" y="42"/>
                  </a:cubicBezTo>
                  <a:cubicBezTo>
                    <a:pt x="26" y="41"/>
                    <a:pt x="25" y="41"/>
                    <a:pt x="25" y="40"/>
                  </a:cubicBezTo>
                  <a:cubicBezTo>
                    <a:pt x="23" y="38"/>
                    <a:pt x="22" y="36"/>
                    <a:pt x="23" y="33"/>
                  </a:cubicBezTo>
                  <a:cubicBezTo>
                    <a:pt x="23" y="32"/>
                    <a:pt x="23" y="31"/>
                    <a:pt x="23" y="30"/>
                  </a:cubicBezTo>
                  <a:cubicBezTo>
                    <a:pt x="23" y="30"/>
                    <a:pt x="22" y="29"/>
                    <a:pt x="22" y="28"/>
                  </a:cubicBezTo>
                  <a:cubicBezTo>
                    <a:pt x="22" y="28"/>
                    <a:pt x="21" y="27"/>
                    <a:pt x="21" y="27"/>
                  </a:cubicBezTo>
                  <a:cubicBezTo>
                    <a:pt x="21" y="27"/>
                    <a:pt x="20" y="26"/>
                    <a:pt x="19" y="25"/>
                  </a:cubicBezTo>
                  <a:cubicBezTo>
                    <a:pt x="19" y="25"/>
                    <a:pt x="18" y="24"/>
                    <a:pt x="17" y="23"/>
                  </a:cubicBezTo>
                  <a:cubicBezTo>
                    <a:pt x="22" y="17"/>
                    <a:pt x="28" y="12"/>
                    <a:pt x="36" y="9"/>
                  </a:cubicBezTo>
                  <a:cubicBezTo>
                    <a:pt x="36" y="9"/>
                    <a:pt x="36" y="10"/>
                    <a:pt x="36" y="10"/>
                  </a:cubicBezTo>
                  <a:cubicBezTo>
                    <a:pt x="37" y="11"/>
                    <a:pt x="37" y="11"/>
                    <a:pt x="38" y="11"/>
                  </a:cubicBezTo>
                  <a:cubicBezTo>
                    <a:pt x="38" y="13"/>
                    <a:pt x="37" y="13"/>
                    <a:pt x="36" y="12"/>
                  </a:cubicBezTo>
                  <a:cubicBezTo>
                    <a:pt x="34" y="12"/>
                    <a:pt x="33" y="12"/>
                    <a:pt x="32" y="13"/>
                  </a:cubicBezTo>
                  <a:cubicBezTo>
                    <a:pt x="32" y="13"/>
                    <a:pt x="34" y="15"/>
                    <a:pt x="34" y="13"/>
                  </a:cubicBezTo>
                  <a:cubicBezTo>
                    <a:pt x="35" y="13"/>
                    <a:pt x="36" y="13"/>
                    <a:pt x="37" y="13"/>
                  </a:cubicBezTo>
                  <a:cubicBezTo>
                    <a:pt x="38" y="13"/>
                    <a:pt x="40" y="14"/>
                    <a:pt x="40" y="14"/>
                  </a:cubicBezTo>
                  <a:cubicBezTo>
                    <a:pt x="40" y="14"/>
                    <a:pt x="40" y="13"/>
                    <a:pt x="41" y="12"/>
                  </a:cubicBezTo>
                  <a:cubicBezTo>
                    <a:pt x="40" y="12"/>
                    <a:pt x="40" y="12"/>
                    <a:pt x="40" y="12"/>
                  </a:cubicBezTo>
                  <a:cubicBezTo>
                    <a:pt x="40" y="11"/>
                    <a:pt x="41" y="12"/>
                    <a:pt x="42" y="12"/>
                  </a:cubicBezTo>
                  <a:cubicBezTo>
                    <a:pt x="41" y="13"/>
                    <a:pt x="42" y="15"/>
                    <a:pt x="43" y="13"/>
                  </a:cubicBezTo>
                  <a:cubicBezTo>
                    <a:pt x="44" y="12"/>
                    <a:pt x="43" y="12"/>
                    <a:pt x="41" y="11"/>
                  </a:cubicBezTo>
                  <a:cubicBezTo>
                    <a:pt x="43" y="9"/>
                    <a:pt x="43" y="9"/>
                    <a:pt x="44" y="11"/>
                  </a:cubicBezTo>
                  <a:cubicBezTo>
                    <a:pt x="45" y="10"/>
                    <a:pt x="45" y="10"/>
                    <a:pt x="46" y="10"/>
                  </a:cubicBezTo>
                  <a:cubicBezTo>
                    <a:pt x="46" y="10"/>
                    <a:pt x="46" y="10"/>
                    <a:pt x="46" y="10"/>
                  </a:cubicBezTo>
                  <a:cubicBezTo>
                    <a:pt x="46" y="10"/>
                    <a:pt x="46" y="10"/>
                    <a:pt x="45" y="10"/>
                  </a:cubicBezTo>
                  <a:cubicBezTo>
                    <a:pt x="46" y="9"/>
                    <a:pt x="45" y="8"/>
                    <a:pt x="47" y="8"/>
                  </a:cubicBezTo>
                  <a:cubicBezTo>
                    <a:pt x="48" y="8"/>
                    <a:pt x="51" y="8"/>
                    <a:pt x="51" y="7"/>
                  </a:cubicBezTo>
                  <a:cubicBezTo>
                    <a:pt x="49" y="7"/>
                    <a:pt x="47" y="7"/>
                    <a:pt x="45" y="8"/>
                  </a:cubicBezTo>
                  <a:cubicBezTo>
                    <a:pt x="44" y="9"/>
                    <a:pt x="43" y="10"/>
                    <a:pt x="42" y="9"/>
                  </a:cubicBezTo>
                  <a:cubicBezTo>
                    <a:pt x="41" y="8"/>
                    <a:pt x="43" y="7"/>
                    <a:pt x="44" y="7"/>
                  </a:cubicBezTo>
                  <a:cubicBezTo>
                    <a:pt x="43" y="7"/>
                    <a:pt x="43" y="7"/>
                    <a:pt x="43" y="7"/>
                  </a:cubicBezTo>
                  <a:cubicBezTo>
                    <a:pt x="47" y="6"/>
                    <a:pt x="50" y="6"/>
                    <a:pt x="53" y="6"/>
                  </a:cubicBezTo>
                  <a:cubicBezTo>
                    <a:pt x="55" y="6"/>
                    <a:pt x="57" y="6"/>
                    <a:pt x="59" y="6"/>
                  </a:cubicBezTo>
                  <a:cubicBezTo>
                    <a:pt x="59" y="6"/>
                    <a:pt x="59" y="7"/>
                    <a:pt x="59" y="7"/>
                  </a:cubicBezTo>
                  <a:cubicBezTo>
                    <a:pt x="58" y="8"/>
                    <a:pt x="56" y="8"/>
                    <a:pt x="55" y="9"/>
                  </a:cubicBezTo>
                  <a:cubicBezTo>
                    <a:pt x="56" y="9"/>
                    <a:pt x="60" y="10"/>
                    <a:pt x="61" y="8"/>
                  </a:cubicBezTo>
                  <a:cubicBezTo>
                    <a:pt x="60" y="8"/>
                    <a:pt x="60" y="8"/>
                    <a:pt x="59" y="8"/>
                  </a:cubicBezTo>
                  <a:cubicBezTo>
                    <a:pt x="60" y="7"/>
                    <a:pt x="61" y="7"/>
                    <a:pt x="62" y="6"/>
                  </a:cubicBezTo>
                  <a:cubicBezTo>
                    <a:pt x="72" y="8"/>
                    <a:pt x="80" y="13"/>
                    <a:pt x="87" y="20"/>
                  </a:cubicBezTo>
                  <a:cubicBezTo>
                    <a:pt x="87" y="20"/>
                    <a:pt x="87" y="20"/>
                    <a:pt x="87" y="20"/>
                  </a:cubicBezTo>
                  <a:close/>
                  <a:moveTo>
                    <a:pt x="95" y="39"/>
                  </a:moveTo>
                  <a:cubicBezTo>
                    <a:pt x="95" y="38"/>
                    <a:pt x="95" y="38"/>
                    <a:pt x="96" y="38"/>
                  </a:cubicBezTo>
                  <a:cubicBezTo>
                    <a:pt x="96" y="38"/>
                    <a:pt x="96" y="38"/>
                    <a:pt x="96" y="37"/>
                  </a:cubicBezTo>
                  <a:cubicBezTo>
                    <a:pt x="96" y="37"/>
                    <a:pt x="96" y="37"/>
                    <a:pt x="97" y="37"/>
                  </a:cubicBezTo>
                  <a:cubicBezTo>
                    <a:pt x="97" y="37"/>
                    <a:pt x="97" y="37"/>
                    <a:pt x="97" y="36"/>
                  </a:cubicBezTo>
                  <a:cubicBezTo>
                    <a:pt x="98" y="39"/>
                    <a:pt x="98" y="41"/>
                    <a:pt x="99" y="43"/>
                  </a:cubicBezTo>
                  <a:cubicBezTo>
                    <a:pt x="99" y="43"/>
                    <a:pt x="99" y="43"/>
                    <a:pt x="99" y="43"/>
                  </a:cubicBezTo>
                  <a:cubicBezTo>
                    <a:pt x="99" y="43"/>
                    <a:pt x="98" y="43"/>
                    <a:pt x="98" y="43"/>
                  </a:cubicBezTo>
                  <a:cubicBezTo>
                    <a:pt x="97" y="43"/>
                    <a:pt x="97" y="43"/>
                    <a:pt x="96" y="43"/>
                  </a:cubicBezTo>
                  <a:cubicBezTo>
                    <a:pt x="96" y="42"/>
                    <a:pt x="96" y="42"/>
                    <a:pt x="95" y="42"/>
                  </a:cubicBezTo>
                  <a:cubicBezTo>
                    <a:pt x="95" y="41"/>
                    <a:pt x="95" y="41"/>
                    <a:pt x="95" y="40"/>
                  </a:cubicBezTo>
                  <a:cubicBezTo>
                    <a:pt x="95" y="40"/>
                    <a:pt x="95" y="39"/>
                    <a:pt x="95" y="39"/>
                  </a:cubicBezTo>
                  <a:close/>
                  <a:moveTo>
                    <a:pt x="96" y="63"/>
                  </a:moveTo>
                  <a:cubicBezTo>
                    <a:pt x="95" y="62"/>
                    <a:pt x="94" y="61"/>
                    <a:pt x="93" y="60"/>
                  </a:cubicBezTo>
                  <a:cubicBezTo>
                    <a:pt x="92" y="59"/>
                    <a:pt x="93" y="58"/>
                    <a:pt x="93" y="56"/>
                  </a:cubicBezTo>
                  <a:cubicBezTo>
                    <a:pt x="93" y="55"/>
                    <a:pt x="92" y="54"/>
                    <a:pt x="93" y="53"/>
                  </a:cubicBezTo>
                  <a:cubicBezTo>
                    <a:pt x="93" y="52"/>
                    <a:pt x="94" y="52"/>
                    <a:pt x="94" y="52"/>
                  </a:cubicBezTo>
                  <a:cubicBezTo>
                    <a:pt x="94" y="51"/>
                    <a:pt x="94" y="51"/>
                    <a:pt x="95" y="50"/>
                  </a:cubicBezTo>
                  <a:cubicBezTo>
                    <a:pt x="95" y="49"/>
                    <a:pt x="96" y="49"/>
                    <a:pt x="96" y="49"/>
                  </a:cubicBezTo>
                  <a:cubicBezTo>
                    <a:pt x="97" y="48"/>
                    <a:pt x="97" y="48"/>
                    <a:pt x="97" y="47"/>
                  </a:cubicBezTo>
                  <a:cubicBezTo>
                    <a:pt x="98" y="46"/>
                    <a:pt x="98" y="46"/>
                    <a:pt x="99" y="45"/>
                  </a:cubicBezTo>
                  <a:cubicBezTo>
                    <a:pt x="99" y="47"/>
                    <a:pt x="100" y="50"/>
                    <a:pt x="100" y="52"/>
                  </a:cubicBezTo>
                  <a:cubicBezTo>
                    <a:pt x="100" y="56"/>
                    <a:pt x="99" y="60"/>
                    <a:pt x="98" y="64"/>
                  </a:cubicBezTo>
                  <a:cubicBezTo>
                    <a:pt x="97" y="64"/>
                    <a:pt x="96" y="63"/>
                    <a:pt x="96" y="63"/>
                  </a:cubicBezTo>
                  <a:close/>
                </a:path>
              </a:pathLst>
            </a:custGeom>
            <a:solidFill>
              <a:schemeClr val="accent3"/>
            </a:solidFill>
            <a:ln>
              <a:noFill/>
            </a:ln>
            <a:effectLst/>
          </p:spPr>
          <p:txBody>
            <a:bodyPr vert="horz" wrap="square" lIns="91440" tIns="45719" rIns="91440" bIns="45719" numCol="1" anchor="t" anchorCtr="0" compatLnSpc="1">
              <a:prstTxWarp prst="textNoShape">
                <a:avLst/>
              </a:prstTxWarp>
              <a:noAutofit/>
            </a:bodyPr>
            <a:lstStyle/>
            <a:p>
              <a:endParaRPr lang="es-ES_tradnl" sz="1000" dirty="0">
                <a:latin typeface="+mn-lt"/>
              </a:endParaRPr>
            </a:p>
          </p:txBody>
        </p:sp>
      </p:grpSp>
      <p:cxnSp>
        <p:nvCxnSpPr>
          <p:cNvPr id="5" name="Straight Connector 4"/>
          <p:cNvCxnSpPr>
            <a:cxnSpLocks/>
          </p:cNvCxnSpPr>
          <p:nvPr/>
        </p:nvCxnSpPr>
        <p:spPr>
          <a:xfrm>
            <a:off x="1142999" y="2617965"/>
            <a:ext cx="9995861"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264054" y="2510244"/>
            <a:ext cx="412812"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dirty="0"/>
              <a:t>67</a:t>
            </a:r>
          </a:p>
        </p:txBody>
      </p:sp>
      <p:sp>
        <p:nvSpPr>
          <p:cNvPr id="27" name="Oval 26">
            <a:extLst>
              <a:ext uri="{FF2B5EF4-FFF2-40B4-BE49-F238E27FC236}">
                <a16:creationId xmlns:a16="http://schemas.microsoft.com/office/drawing/2014/main" id="{5546AEB4-4EF2-4E98-A0B7-BD76F91E28E9}"/>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spTree>
    <p:extLst>
      <p:ext uri="{BB962C8B-B14F-4D97-AF65-F5344CB8AC3E}">
        <p14:creationId xmlns:p14="http://schemas.microsoft.com/office/powerpoint/2010/main" val="2121636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 name="Object 165" hidden="1">
            <a:extLst>
              <a:ext uri="{FF2B5EF4-FFF2-40B4-BE49-F238E27FC236}">
                <a16:creationId xmlns:a16="http://schemas.microsoft.com/office/drawing/2014/main" id="{5CD60591-6660-4CC8-BEFC-8E3FAFB7919A}"/>
              </a:ext>
            </a:extLst>
          </p:cNvPr>
          <p:cNvGraphicFramePr>
            <a:graphicFrameLocks noChangeAspect="1"/>
          </p:cNvGraphicFramePr>
          <p:nvPr>
            <p:custDataLst>
              <p:tags r:id="rId2"/>
            </p:custDataLst>
            <p:extLst>
              <p:ext uri="{D42A27DB-BD31-4B8C-83A1-F6EECF244321}">
                <p14:modId xmlns:p14="http://schemas.microsoft.com/office/powerpoint/2010/main" val="957031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69" name="think-cell Slide" r:id="rId5" imgW="370" imgH="371" progId="TCLayout.ActiveDocument.1">
                  <p:embed/>
                </p:oleObj>
              </mc:Choice>
              <mc:Fallback>
                <p:oleObj name="think-cell Slide" r:id="rId5" imgW="370" imgH="37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B74B1E-870A-431B-BD61-56D7D7474BD6}"/>
              </a:ext>
            </a:extLst>
          </p:cNvPr>
          <p:cNvSpPr>
            <a:spLocks noGrp="1"/>
          </p:cNvSpPr>
          <p:nvPr>
            <p:ph type="title"/>
          </p:nvPr>
        </p:nvSpPr>
        <p:spPr>
          <a:xfrm>
            <a:off x="739141" y="353603"/>
            <a:ext cx="9263842"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39738">
              <a:tabLst>
                <a:tab pos="450850" algn="l"/>
              </a:tabLst>
            </a:pPr>
            <a:r>
              <a:rPr lang="es-CO" dirty="0"/>
              <a:t>El </a:t>
            </a:r>
            <a:r>
              <a:rPr lang="es-CO" dirty="0" err="1"/>
              <a:t>benchmark</a:t>
            </a:r>
            <a:r>
              <a:rPr lang="es-CO" dirty="0"/>
              <a:t> mostró que las 14 empresas que participaron tiene prácticas excelentes en todo</a:t>
            </a:r>
          </a:p>
        </p:txBody>
      </p:sp>
      <p:sp>
        <p:nvSpPr>
          <p:cNvPr id="4" name="Rectangle 2">
            <a:extLst>
              <a:ext uri="{FF2B5EF4-FFF2-40B4-BE49-F238E27FC236}">
                <a16:creationId xmlns:a16="http://schemas.microsoft.com/office/drawing/2014/main" id="{AAD45B55-345D-4963-8370-2A2AA075FDEC}"/>
              </a:ext>
            </a:extLst>
          </p:cNvPr>
          <p:cNvSpPr>
            <a:spLocks noChangeArrowheads="1"/>
          </p:cNvSpPr>
          <p:nvPr/>
        </p:nvSpPr>
        <p:spPr bwMode="gray">
          <a:xfrm>
            <a:off x="4494360" y="1501445"/>
            <a:ext cx="7172917" cy="4425056"/>
          </a:xfrm>
          <a:prstGeom prst="rect">
            <a:avLst/>
          </a:prstGeom>
          <a:solidFill>
            <a:schemeClr val="bg1">
              <a:lumMod val="85000"/>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p>
            <a:pPr algn="ctr"/>
            <a:endParaRPr lang="es-ES_tradnl" dirty="0"/>
          </a:p>
        </p:txBody>
      </p:sp>
      <p:sp>
        <p:nvSpPr>
          <p:cNvPr id="5" name="Round Same Side Corner Rectangle 46">
            <a:extLst>
              <a:ext uri="{FF2B5EF4-FFF2-40B4-BE49-F238E27FC236}">
                <a16:creationId xmlns:a16="http://schemas.microsoft.com/office/drawing/2014/main" id="{9B1477B6-D121-4FDF-B6F3-298472A240A0}"/>
              </a:ext>
            </a:extLst>
          </p:cNvPr>
          <p:cNvSpPr>
            <a:spLocks/>
          </p:cNvSpPr>
          <p:nvPr/>
        </p:nvSpPr>
        <p:spPr>
          <a:xfrm>
            <a:off x="9369816" y="1223702"/>
            <a:ext cx="2297465" cy="277744"/>
          </a:xfrm>
          <a:prstGeom prst="round2SameRect">
            <a:avLst>
              <a:gd name="adj1" fmla="val 0"/>
              <a:gd name="adj2" fmla="val 0"/>
            </a:avLst>
          </a:prstGeom>
          <a:solidFill>
            <a:srgbClr val="0066CC"/>
          </a:solidFill>
          <a:ln w="9525" algn="ctr">
            <a:noFill/>
            <a:miter lim="800000"/>
            <a:headEnd/>
            <a:tailEnd/>
          </a:ln>
          <a:effectLst/>
        </p:spPr>
        <p:txBody>
          <a:bodyPr vert="horz" wrap="square" lIns="0" tIns="0" rIns="0" bIns="0" numCol="1" anchor="ctr" anchorCtr="0" compatLnSpc="1">
            <a:prstTxWarp prst="textNoShape">
              <a:avLst/>
            </a:prstTxWarp>
            <a:noAutofit/>
          </a:bodyPr>
          <a:lstStyle/>
          <a:p>
            <a:pPr algn="ctr"/>
            <a:r>
              <a:rPr lang="es-ES_tradnl" b="1" dirty="0">
                <a:solidFill>
                  <a:schemeClr val="bg1"/>
                </a:solidFill>
                <a:latin typeface="+mn-lt"/>
                <a:cs typeface="Arial" pitchFamily="34" charset="0"/>
              </a:rPr>
              <a:t>Ejecución</a:t>
            </a:r>
          </a:p>
        </p:txBody>
      </p:sp>
      <p:sp>
        <p:nvSpPr>
          <p:cNvPr id="6" name="Line 26">
            <a:extLst>
              <a:ext uri="{FF2B5EF4-FFF2-40B4-BE49-F238E27FC236}">
                <a16:creationId xmlns:a16="http://schemas.microsoft.com/office/drawing/2014/main" id="{4F41B72C-E92C-4B99-A41A-24091F2FB151}"/>
              </a:ext>
            </a:extLst>
          </p:cNvPr>
          <p:cNvSpPr>
            <a:spLocks noChangeShapeType="1"/>
          </p:cNvSpPr>
          <p:nvPr/>
        </p:nvSpPr>
        <p:spPr bwMode="auto">
          <a:xfrm>
            <a:off x="739146" y="1828503"/>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7" name="Round Same Side Corner Rectangle 48">
            <a:extLst>
              <a:ext uri="{FF2B5EF4-FFF2-40B4-BE49-F238E27FC236}">
                <a16:creationId xmlns:a16="http://schemas.microsoft.com/office/drawing/2014/main" id="{05C436A7-D137-4E68-AB7F-FE21D7B297C9}"/>
              </a:ext>
            </a:extLst>
          </p:cNvPr>
          <p:cNvSpPr>
            <a:spLocks/>
          </p:cNvSpPr>
          <p:nvPr/>
        </p:nvSpPr>
        <p:spPr>
          <a:xfrm>
            <a:off x="6932092" y="1223702"/>
            <a:ext cx="2297465" cy="277744"/>
          </a:xfrm>
          <a:prstGeom prst="round2SameRect">
            <a:avLst>
              <a:gd name="adj1" fmla="val 0"/>
              <a:gd name="adj2" fmla="val 0"/>
            </a:avLst>
          </a:prstGeom>
          <a:solidFill>
            <a:srgbClr val="0066CC"/>
          </a:solidFill>
          <a:ln w="9525" algn="ctr">
            <a:noFill/>
            <a:miter lim="800000"/>
            <a:headEnd/>
            <a:tailEnd/>
          </a:ln>
          <a:effectLst/>
        </p:spPr>
        <p:txBody>
          <a:bodyPr vert="horz" wrap="square" lIns="0" tIns="0" rIns="0" bIns="0" numCol="1" anchor="ctr" anchorCtr="0" compatLnSpc="1">
            <a:prstTxWarp prst="textNoShape">
              <a:avLst/>
            </a:prstTxWarp>
            <a:noAutofit/>
          </a:bodyPr>
          <a:lstStyle/>
          <a:p>
            <a:pPr algn="ctr"/>
            <a:r>
              <a:rPr lang="es-ES_tradnl" b="1" dirty="0">
                <a:solidFill>
                  <a:schemeClr val="bg1"/>
                </a:solidFill>
                <a:latin typeface="+mn-lt"/>
                <a:cs typeface="Arial" pitchFamily="34" charset="0"/>
              </a:rPr>
              <a:t>Compras</a:t>
            </a:r>
          </a:p>
        </p:txBody>
      </p:sp>
      <p:sp>
        <p:nvSpPr>
          <p:cNvPr id="8" name="Round Same Side Corner Rectangle 49">
            <a:extLst>
              <a:ext uri="{FF2B5EF4-FFF2-40B4-BE49-F238E27FC236}">
                <a16:creationId xmlns:a16="http://schemas.microsoft.com/office/drawing/2014/main" id="{ADDC7841-F078-47FC-875A-A2916AADC613}"/>
              </a:ext>
            </a:extLst>
          </p:cNvPr>
          <p:cNvSpPr>
            <a:spLocks/>
          </p:cNvSpPr>
          <p:nvPr/>
        </p:nvSpPr>
        <p:spPr>
          <a:xfrm>
            <a:off x="4494367" y="1223702"/>
            <a:ext cx="2297465" cy="277744"/>
          </a:xfrm>
          <a:prstGeom prst="round2SameRect">
            <a:avLst>
              <a:gd name="adj1" fmla="val 0"/>
              <a:gd name="adj2" fmla="val 0"/>
            </a:avLst>
          </a:prstGeom>
          <a:solidFill>
            <a:srgbClr val="0066CC"/>
          </a:solidFill>
          <a:ln w="9525" algn="ctr">
            <a:noFill/>
            <a:miter lim="800000"/>
            <a:headEnd/>
            <a:tailEnd/>
          </a:ln>
          <a:effectLst/>
        </p:spPr>
        <p:txBody>
          <a:bodyPr vert="horz" wrap="square" lIns="0" tIns="0" rIns="0" bIns="0" numCol="1" anchor="ctr" anchorCtr="0" compatLnSpc="1">
            <a:prstTxWarp prst="textNoShape">
              <a:avLst/>
            </a:prstTxWarp>
            <a:noAutofit/>
          </a:bodyPr>
          <a:lstStyle/>
          <a:p>
            <a:pPr algn="ctr"/>
            <a:r>
              <a:rPr lang="es-ES_tradnl" b="1" dirty="0">
                <a:solidFill>
                  <a:schemeClr val="bg1"/>
                </a:solidFill>
                <a:latin typeface="+mn-lt"/>
                <a:cs typeface="Arial" pitchFamily="34" charset="0"/>
              </a:rPr>
              <a:t>Ventas</a:t>
            </a:r>
          </a:p>
        </p:txBody>
      </p:sp>
      <p:sp>
        <p:nvSpPr>
          <p:cNvPr id="9" name="Round Same Side Corner Rectangle 50">
            <a:extLst>
              <a:ext uri="{FF2B5EF4-FFF2-40B4-BE49-F238E27FC236}">
                <a16:creationId xmlns:a16="http://schemas.microsoft.com/office/drawing/2014/main" id="{1D8F3156-3267-46F4-A78D-3CE6017F30B1}"/>
              </a:ext>
            </a:extLst>
          </p:cNvPr>
          <p:cNvSpPr>
            <a:spLocks/>
          </p:cNvSpPr>
          <p:nvPr/>
        </p:nvSpPr>
        <p:spPr>
          <a:xfrm>
            <a:off x="739141" y="1223702"/>
            <a:ext cx="3614960" cy="277744"/>
          </a:xfrm>
          <a:prstGeom prst="round2SameRect">
            <a:avLst>
              <a:gd name="adj1" fmla="val 0"/>
              <a:gd name="adj2" fmla="val 0"/>
            </a:avLst>
          </a:prstGeom>
          <a:solidFill>
            <a:schemeClr val="accent4"/>
          </a:solidFill>
          <a:ln w="9525" algn="ctr">
            <a:noFill/>
            <a:miter lim="800000"/>
            <a:headEnd/>
            <a:tailEnd/>
          </a:ln>
          <a:effectLst/>
        </p:spPr>
        <p:txBody>
          <a:bodyPr vert="horz" wrap="square" lIns="108000" tIns="0" rIns="0" bIns="0" numCol="1" anchor="ctr" anchorCtr="0" compatLnSpc="1">
            <a:prstTxWarp prst="textNoShape">
              <a:avLst/>
            </a:prstTxWarp>
            <a:noAutofit/>
          </a:bodyPr>
          <a:lstStyle/>
          <a:p>
            <a:r>
              <a:rPr lang="es-ES_tradnl" b="1" dirty="0">
                <a:solidFill>
                  <a:schemeClr val="bg1"/>
                </a:solidFill>
                <a:latin typeface="+mn-lt"/>
                <a:cs typeface="Arial" pitchFamily="34" charset="0"/>
              </a:rPr>
              <a:t>Compañías</a:t>
            </a:r>
          </a:p>
        </p:txBody>
      </p:sp>
      <p:sp>
        <p:nvSpPr>
          <p:cNvPr id="19" name="TextBox 18">
            <a:extLst>
              <a:ext uri="{FF2B5EF4-FFF2-40B4-BE49-F238E27FC236}">
                <a16:creationId xmlns:a16="http://schemas.microsoft.com/office/drawing/2014/main" id="{9703B1AD-4A94-426B-93F6-A0833B83F064}"/>
              </a:ext>
            </a:extLst>
          </p:cNvPr>
          <p:cNvSpPr txBox="1"/>
          <p:nvPr/>
        </p:nvSpPr>
        <p:spPr>
          <a:xfrm>
            <a:off x="809853" y="1547779"/>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1</a:t>
            </a:r>
          </a:p>
        </p:txBody>
      </p:sp>
      <p:sp>
        <p:nvSpPr>
          <p:cNvPr id="20" name="Line 26">
            <a:extLst>
              <a:ext uri="{FF2B5EF4-FFF2-40B4-BE49-F238E27FC236}">
                <a16:creationId xmlns:a16="http://schemas.microsoft.com/office/drawing/2014/main" id="{B8D114AE-42F9-43FF-8021-596BF6B1D122}"/>
              </a:ext>
            </a:extLst>
          </p:cNvPr>
          <p:cNvSpPr>
            <a:spLocks noChangeShapeType="1"/>
          </p:cNvSpPr>
          <p:nvPr/>
        </p:nvSpPr>
        <p:spPr bwMode="auto">
          <a:xfrm>
            <a:off x="739146" y="2143733"/>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30" name="TextBox 29">
            <a:extLst>
              <a:ext uri="{FF2B5EF4-FFF2-40B4-BE49-F238E27FC236}">
                <a16:creationId xmlns:a16="http://schemas.microsoft.com/office/drawing/2014/main" id="{D5DC96E5-083A-4D78-BB9F-866E5F5E6D03}"/>
              </a:ext>
            </a:extLst>
          </p:cNvPr>
          <p:cNvSpPr txBox="1"/>
          <p:nvPr/>
        </p:nvSpPr>
        <p:spPr>
          <a:xfrm>
            <a:off x="809853" y="1863009"/>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2</a:t>
            </a:r>
          </a:p>
        </p:txBody>
      </p:sp>
      <p:sp>
        <p:nvSpPr>
          <p:cNvPr id="31" name="Line 26">
            <a:extLst>
              <a:ext uri="{FF2B5EF4-FFF2-40B4-BE49-F238E27FC236}">
                <a16:creationId xmlns:a16="http://schemas.microsoft.com/office/drawing/2014/main" id="{BD87A8AD-D4B3-4516-8D45-2D049875658C}"/>
              </a:ext>
            </a:extLst>
          </p:cNvPr>
          <p:cNvSpPr>
            <a:spLocks noChangeShapeType="1"/>
          </p:cNvSpPr>
          <p:nvPr/>
        </p:nvSpPr>
        <p:spPr bwMode="auto">
          <a:xfrm>
            <a:off x="739146" y="2458965"/>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41" name="TextBox 40">
            <a:extLst>
              <a:ext uri="{FF2B5EF4-FFF2-40B4-BE49-F238E27FC236}">
                <a16:creationId xmlns:a16="http://schemas.microsoft.com/office/drawing/2014/main" id="{A5A1640D-09A2-4D6B-8DF4-26D42188BE05}"/>
              </a:ext>
            </a:extLst>
          </p:cNvPr>
          <p:cNvSpPr txBox="1"/>
          <p:nvPr/>
        </p:nvSpPr>
        <p:spPr>
          <a:xfrm>
            <a:off x="809853" y="2178241"/>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3</a:t>
            </a:r>
          </a:p>
        </p:txBody>
      </p:sp>
      <p:sp>
        <p:nvSpPr>
          <p:cNvPr id="42" name="Line 26">
            <a:extLst>
              <a:ext uri="{FF2B5EF4-FFF2-40B4-BE49-F238E27FC236}">
                <a16:creationId xmlns:a16="http://schemas.microsoft.com/office/drawing/2014/main" id="{3EEB7BA6-2346-4FF8-B956-BC4D66FD7CC5}"/>
              </a:ext>
            </a:extLst>
          </p:cNvPr>
          <p:cNvSpPr>
            <a:spLocks noChangeShapeType="1"/>
          </p:cNvSpPr>
          <p:nvPr/>
        </p:nvSpPr>
        <p:spPr bwMode="auto">
          <a:xfrm>
            <a:off x="739146" y="2774195"/>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52" name="TextBox 51">
            <a:extLst>
              <a:ext uri="{FF2B5EF4-FFF2-40B4-BE49-F238E27FC236}">
                <a16:creationId xmlns:a16="http://schemas.microsoft.com/office/drawing/2014/main" id="{7EB75674-B62A-4A72-A929-331281C7815B}"/>
              </a:ext>
            </a:extLst>
          </p:cNvPr>
          <p:cNvSpPr txBox="1"/>
          <p:nvPr/>
        </p:nvSpPr>
        <p:spPr>
          <a:xfrm>
            <a:off x="809853" y="2493471"/>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4</a:t>
            </a:r>
          </a:p>
        </p:txBody>
      </p:sp>
      <p:sp>
        <p:nvSpPr>
          <p:cNvPr id="53" name="Line 26">
            <a:extLst>
              <a:ext uri="{FF2B5EF4-FFF2-40B4-BE49-F238E27FC236}">
                <a16:creationId xmlns:a16="http://schemas.microsoft.com/office/drawing/2014/main" id="{A308DE44-10DF-405B-AB83-C7C178A4FB5F}"/>
              </a:ext>
            </a:extLst>
          </p:cNvPr>
          <p:cNvSpPr>
            <a:spLocks noChangeShapeType="1"/>
          </p:cNvSpPr>
          <p:nvPr/>
        </p:nvSpPr>
        <p:spPr bwMode="auto">
          <a:xfrm>
            <a:off x="739146" y="3089427"/>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63" name="TextBox 62">
            <a:extLst>
              <a:ext uri="{FF2B5EF4-FFF2-40B4-BE49-F238E27FC236}">
                <a16:creationId xmlns:a16="http://schemas.microsoft.com/office/drawing/2014/main" id="{E655CC8F-8C7D-41B8-950F-D89DC60E5DF3}"/>
              </a:ext>
            </a:extLst>
          </p:cNvPr>
          <p:cNvSpPr txBox="1"/>
          <p:nvPr/>
        </p:nvSpPr>
        <p:spPr>
          <a:xfrm>
            <a:off x="809853" y="2808703"/>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5</a:t>
            </a:r>
          </a:p>
        </p:txBody>
      </p:sp>
      <p:sp>
        <p:nvSpPr>
          <p:cNvPr id="64" name="Line 26">
            <a:extLst>
              <a:ext uri="{FF2B5EF4-FFF2-40B4-BE49-F238E27FC236}">
                <a16:creationId xmlns:a16="http://schemas.microsoft.com/office/drawing/2014/main" id="{B0173953-D4AD-40FB-A8FD-E32682234E06}"/>
              </a:ext>
            </a:extLst>
          </p:cNvPr>
          <p:cNvSpPr>
            <a:spLocks noChangeShapeType="1"/>
          </p:cNvSpPr>
          <p:nvPr/>
        </p:nvSpPr>
        <p:spPr bwMode="auto">
          <a:xfrm>
            <a:off x="739146" y="3404657"/>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74" name="TextBox 73">
            <a:extLst>
              <a:ext uri="{FF2B5EF4-FFF2-40B4-BE49-F238E27FC236}">
                <a16:creationId xmlns:a16="http://schemas.microsoft.com/office/drawing/2014/main" id="{9D139EFC-7F1C-41C0-BB36-8B6255538EBD}"/>
              </a:ext>
            </a:extLst>
          </p:cNvPr>
          <p:cNvSpPr txBox="1"/>
          <p:nvPr/>
        </p:nvSpPr>
        <p:spPr>
          <a:xfrm>
            <a:off x="809853" y="3123933"/>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6</a:t>
            </a:r>
          </a:p>
        </p:txBody>
      </p:sp>
      <p:sp>
        <p:nvSpPr>
          <p:cNvPr id="75" name="Line 26">
            <a:extLst>
              <a:ext uri="{FF2B5EF4-FFF2-40B4-BE49-F238E27FC236}">
                <a16:creationId xmlns:a16="http://schemas.microsoft.com/office/drawing/2014/main" id="{26A2FCF3-161C-496F-86DC-1CCC80C2738D}"/>
              </a:ext>
            </a:extLst>
          </p:cNvPr>
          <p:cNvSpPr>
            <a:spLocks noChangeShapeType="1"/>
          </p:cNvSpPr>
          <p:nvPr/>
        </p:nvSpPr>
        <p:spPr bwMode="auto">
          <a:xfrm>
            <a:off x="739146" y="3719889"/>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85" name="TextBox 84">
            <a:extLst>
              <a:ext uri="{FF2B5EF4-FFF2-40B4-BE49-F238E27FC236}">
                <a16:creationId xmlns:a16="http://schemas.microsoft.com/office/drawing/2014/main" id="{DA8746F0-B5DF-43F3-9244-7B35203A1397}"/>
              </a:ext>
            </a:extLst>
          </p:cNvPr>
          <p:cNvSpPr txBox="1"/>
          <p:nvPr/>
        </p:nvSpPr>
        <p:spPr>
          <a:xfrm>
            <a:off x="809853" y="3439165"/>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7</a:t>
            </a:r>
          </a:p>
        </p:txBody>
      </p:sp>
      <p:sp>
        <p:nvSpPr>
          <p:cNvPr id="86" name="Line 26">
            <a:extLst>
              <a:ext uri="{FF2B5EF4-FFF2-40B4-BE49-F238E27FC236}">
                <a16:creationId xmlns:a16="http://schemas.microsoft.com/office/drawing/2014/main" id="{BD06B929-81E8-4A9C-90BF-1B39B6177436}"/>
              </a:ext>
            </a:extLst>
          </p:cNvPr>
          <p:cNvSpPr>
            <a:spLocks noChangeShapeType="1"/>
          </p:cNvSpPr>
          <p:nvPr/>
        </p:nvSpPr>
        <p:spPr bwMode="auto">
          <a:xfrm>
            <a:off x="739146" y="4035119"/>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96" name="TextBox 95">
            <a:extLst>
              <a:ext uri="{FF2B5EF4-FFF2-40B4-BE49-F238E27FC236}">
                <a16:creationId xmlns:a16="http://schemas.microsoft.com/office/drawing/2014/main" id="{58FA61A6-9F68-42D8-85D1-6D233883DF64}"/>
              </a:ext>
            </a:extLst>
          </p:cNvPr>
          <p:cNvSpPr txBox="1"/>
          <p:nvPr/>
        </p:nvSpPr>
        <p:spPr>
          <a:xfrm>
            <a:off x="809853" y="3754395"/>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8</a:t>
            </a:r>
          </a:p>
        </p:txBody>
      </p:sp>
      <p:sp>
        <p:nvSpPr>
          <p:cNvPr id="97" name="Line 26">
            <a:extLst>
              <a:ext uri="{FF2B5EF4-FFF2-40B4-BE49-F238E27FC236}">
                <a16:creationId xmlns:a16="http://schemas.microsoft.com/office/drawing/2014/main" id="{36FDB07F-1E0A-4153-8EED-807405911BEC}"/>
              </a:ext>
            </a:extLst>
          </p:cNvPr>
          <p:cNvSpPr>
            <a:spLocks noChangeShapeType="1"/>
          </p:cNvSpPr>
          <p:nvPr/>
        </p:nvSpPr>
        <p:spPr bwMode="auto">
          <a:xfrm>
            <a:off x="739146" y="4350351"/>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107" name="TextBox 106">
            <a:extLst>
              <a:ext uri="{FF2B5EF4-FFF2-40B4-BE49-F238E27FC236}">
                <a16:creationId xmlns:a16="http://schemas.microsoft.com/office/drawing/2014/main" id="{A94B3AE8-8016-4E60-B455-89AFB65B43CE}"/>
              </a:ext>
            </a:extLst>
          </p:cNvPr>
          <p:cNvSpPr txBox="1"/>
          <p:nvPr/>
        </p:nvSpPr>
        <p:spPr>
          <a:xfrm>
            <a:off x="809853" y="4069627"/>
            <a:ext cx="1777799"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9</a:t>
            </a:r>
          </a:p>
        </p:txBody>
      </p:sp>
      <p:sp>
        <p:nvSpPr>
          <p:cNvPr id="108" name="Line 26">
            <a:extLst>
              <a:ext uri="{FF2B5EF4-FFF2-40B4-BE49-F238E27FC236}">
                <a16:creationId xmlns:a16="http://schemas.microsoft.com/office/drawing/2014/main" id="{53B6D58D-5D9A-4FAD-BBAF-D1DDA8A432B0}"/>
              </a:ext>
            </a:extLst>
          </p:cNvPr>
          <p:cNvSpPr>
            <a:spLocks noChangeShapeType="1"/>
          </p:cNvSpPr>
          <p:nvPr/>
        </p:nvSpPr>
        <p:spPr bwMode="auto">
          <a:xfrm>
            <a:off x="739146" y="4665581"/>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118" name="TextBox 117">
            <a:extLst>
              <a:ext uri="{FF2B5EF4-FFF2-40B4-BE49-F238E27FC236}">
                <a16:creationId xmlns:a16="http://schemas.microsoft.com/office/drawing/2014/main" id="{DAA9EC57-CAE8-4B7A-BABD-BAC64294727C}"/>
              </a:ext>
            </a:extLst>
          </p:cNvPr>
          <p:cNvSpPr txBox="1"/>
          <p:nvPr/>
        </p:nvSpPr>
        <p:spPr>
          <a:xfrm>
            <a:off x="809855" y="4384857"/>
            <a:ext cx="1972986"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10</a:t>
            </a:r>
          </a:p>
        </p:txBody>
      </p:sp>
      <p:sp>
        <p:nvSpPr>
          <p:cNvPr id="119" name="Line 26">
            <a:extLst>
              <a:ext uri="{FF2B5EF4-FFF2-40B4-BE49-F238E27FC236}">
                <a16:creationId xmlns:a16="http://schemas.microsoft.com/office/drawing/2014/main" id="{8C9E5333-F6B8-4FC0-8E09-73F997F7BA50}"/>
              </a:ext>
            </a:extLst>
          </p:cNvPr>
          <p:cNvSpPr>
            <a:spLocks noChangeShapeType="1"/>
          </p:cNvSpPr>
          <p:nvPr/>
        </p:nvSpPr>
        <p:spPr bwMode="auto">
          <a:xfrm>
            <a:off x="739146" y="4980813"/>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129" name="TextBox 128">
            <a:extLst>
              <a:ext uri="{FF2B5EF4-FFF2-40B4-BE49-F238E27FC236}">
                <a16:creationId xmlns:a16="http://schemas.microsoft.com/office/drawing/2014/main" id="{391BF611-D2A7-4AA6-9DE5-A5890CC11A53}"/>
              </a:ext>
            </a:extLst>
          </p:cNvPr>
          <p:cNvSpPr txBox="1"/>
          <p:nvPr/>
        </p:nvSpPr>
        <p:spPr>
          <a:xfrm>
            <a:off x="809855" y="4700089"/>
            <a:ext cx="1972986"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11</a:t>
            </a:r>
          </a:p>
        </p:txBody>
      </p:sp>
      <p:sp>
        <p:nvSpPr>
          <p:cNvPr id="130" name="Line 26">
            <a:extLst>
              <a:ext uri="{FF2B5EF4-FFF2-40B4-BE49-F238E27FC236}">
                <a16:creationId xmlns:a16="http://schemas.microsoft.com/office/drawing/2014/main" id="{543B5411-C286-4952-8BEF-33D2919587AD}"/>
              </a:ext>
            </a:extLst>
          </p:cNvPr>
          <p:cNvSpPr>
            <a:spLocks noChangeShapeType="1"/>
          </p:cNvSpPr>
          <p:nvPr/>
        </p:nvSpPr>
        <p:spPr bwMode="auto">
          <a:xfrm>
            <a:off x="739146" y="5296043"/>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140" name="TextBox 139">
            <a:extLst>
              <a:ext uri="{FF2B5EF4-FFF2-40B4-BE49-F238E27FC236}">
                <a16:creationId xmlns:a16="http://schemas.microsoft.com/office/drawing/2014/main" id="{19E2652D-778F-427F-B1AC-B5AEEAC21475}"/>
              </a:ext>
            </a:extLst>
          </p:cNvPr>
          <p:cNvSpPr txBox="1"/>
          <p:nvPr/>
        </p:nvSpPr>
        <p:spPr>
          <a:xfrm>
            <a:off x="809855" y="5015319"/>
            <a:ext cx="1972986"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12</a:t>
            </a:r>
          </a:p>
        </p:txBody>
      </p:sp>
      <p:sp>
        <p:nvSpPr>
          <p:cNvPr id="141" name="Line 26">
            <a:extLst>
              <a:ext uri="{FF2B5EF4-FFF2-40B4-BE49-F238E27FC236}">
                <a16:creationId xmlns:a16="http://schemas.microsoft.com/office/drawing/2014/main" id="{9F78FBE4-BFBC-4DCE-96C4-38FA32CE78C0}"/>
              </a:ext>
            </a:extLst>
          </p:cNvPr>
          <p:cNvSpPr>
            <a:spLocks noChangeShapeType="1"/>
          </p:cNvSpPr>
          <p:nvPr/>
        </p:nvSpPr>
        <p:spPr bwMode="auto">
          <a:xfrm>
            <a:off x="739146" y="5611274"/>
            <a:ext cx="10928135"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19" rIns="91440" bIns="45719" numCol="1" anchor="ctr" anchorCtr="0" compatLnSpc="1">
            <a:prstTxWarp prst="textNoShape">
              <a:avLst/>
            </a:prstTxWarp>
          </a:bodyPr>
          <a:lstStyle/>
          <a:p>
            <a:endParaRPr lang="es-ES_tradnl" dirty="0">
              <a:latin typeface="+mn-lt"/>
            </a:endParaRPr>
          </a:p>
        </p:txBody>
      </p:sp>
      <p:sp>
        <p:nvSpPr>
          <p:cNvPr id="151" name="TextBox 150">
            <a:extLst>
              <a:ext uri="{FF2B5EF4-FFF2-40B4-BE49-F238E27FC236}">
                <a16:creationId xmlns:a16="http://schemas.microsoft.com/office/drawing/2014/main" id="{A4E49AB6-199B-41FA-A33A-64CCA4F95628}"/>
              </a:ext>
            </a:extLst>
          </p:cNvPr>
          <p:cNvSpPr txBox="1"/>
          <p:nvPr/>
        </p:nvSpPr>
        <p:spPr>
          <a:xfrm>
            <a:off x="809855" y="5330551"/>
            <a:ext cx="1972986"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13</a:t>
            </a:r>
          </a:p>
        </p:txBody>
      </p:sp>
      <p:sp>
        <p:nvSpPr>
          <p:cNvPr id="161" name="TextBox 160">
            <a:extLst>
              <a:ext uri="{FF2B5EF4-FFF2-40B4-BE49-F238E27FC236}">
                <a16:creationId xmlns:a16="http://schemas.microsoft.com/office/drawing/2014/main" id="{6F5AD648-0399-4413-AA7A-16959EA044D1}"/>
              </a:ext>
            </a:extLst>
          </p:cNvPr>
          <p:cNvSpPr txBox="1"/>
          <p:nvPr/>
        </p:nvSpPr>
        <p:spPr>
          <a:xfrm>
            <a:off x="809855" y="5645781"/>
            <a:ext cx="1972986" cy="246221"/>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ES_tradnl" sz="1600" dirty="0"/>
              <a:t>Compañía 14</a:t>
            </a:r>
          </a:p>
        </p:txBody>
      </p:sp>
      <p:sp>
        <p:nvSpPr>
          <p:cNvPr id="164" name="Oval 163">
            <a:extLst>
              <a:ext uri="{FF2B5EF4-FFF2-40B4-BE49-F238E27FC236}">
                <a16:creationId xmlns:a16="http://schemas.microsoft.com/office/drawing/2014/main" id="{405291F9-477C-4E42-A8DE-2598310B0EE7}"/>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grpSp>
        <p:nvGrpSpPr>
          <p:cNvPr id="167" name="Group 166">
            <a:extLst>
              <a:ext uri="{FF2B5EF4-FFF2-40B4-BE49-F238E27FC236}">
                <a16:creationId xmlns:a16="http://schemas.microsoft.com/office/drawing/2014/main" id="{56E35CC5-6638-49E3-9E5B-4327B07F41AA}"/>
              </a:ext>
            </a:extLst>
          </p:cNvPr>
          <p:cNvGrpSpPr/>
          <p:nvPr/>
        </p:nvGrpSpPr>
        <p:grpSpPr>
          <a:xfrm>
            <a:off x="5517075" y="1538932"/>
            <a:ext cx="252049" cy="4326542"/>
            <a:chOff x="5447095" y="1538932"/>
            <a:chExt cx="252049" cy="4326542"/>
          </a:xfrm>
        </p:grpSpPr>
        <p:grpSp>
          <p:nvGrpSpPr>
            <p:cNvPr id="10" name="Group 9">
              <a:extLst>
                <a:ext uri="{FF2B5EF4-FFF2-40B4-BE49-F238E27FC236}">
                  <a16:creationId xmlns:a16="http://schemas.microsoft.com/office/drawing/2014/main" id="{46452CA8-BCFB-401E-B812-CFF81670B830}"/>
                </a:ext>
              </a:extLst>
            </p:cNvPr>
            <p:cNvGrpSpPr/>
            <p:nvPr/>
          </p:nvGrpSpPr>
          <p:grpSpPr>
            <a:xfrm>
              <a:off x="5447095" y="1538932"/>
              <a:ext cx="252049" cy="252050"/>
              <a:chOff x="1445738" y="1894614"/>
              <a:chExt cx="282740" cy="282740"/>
            </a:xfrm>
          </p:grpSpPr>
          <p:sp>
            <p:nvSpPr>
              <p:cNvPr id="11" name="Oval 10">
                <a:extLst>
                  <a:ext uri="{FF2B5EF4-FFF2-40B4-BE49-F238E27FC236}">
                    <a16:creationId xmlns:a16="http://schemas.microsoft.com/office/drawing/2014/main" id="{E6A5EFA2-1C6B-4AA5-9BDA-704DD099A447}"/>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2" name="Oval 11">
                <a:extLst>
                  <a:ext uri="{FF2B5EF4-FFF2-40B4-BE49-F238E27FC236}">
                    <a16:creationId xmlns:a16="http://schemas.microsoft.com/office/drawing/2014/main" id="{14F000F9-CE5D-48EF-9D21-04EF28718213}"/>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21" name="Group 20">
              <a:extLst>
                <a:ext uri="{FF2B5EF4-FFF2-40B4-BE49-F238E27FC236}">
                  <a16:creationId xmlns:a16="http://schemas.microsoft.com/office/drawing/2014/main" id="{BAFACDD8-9117-43A2-B465-69E7B4580D0D}"/>
                </a:ext>
              </a:extLst>
            </p:cNvPr>
            <p:cNvGrpSpPr/>
            <p:nvPr/>
          </p:nvGrpSpPr>
          <p:grpSpPr>
            <a:xfrm>
              <a:off x="5447095" y="1852354"/>
              <a:ext cx="252049" cy="252050"/>
              <a:chOff x="1445738" y="1894614"/>
              <a:chExt cx="282740" cy="282740"/>
            </a:xfrm>
          </p:grpSpPr>
          <p:sp>
            <p:nvSpPr>
              <p:cNvPr id="22" name="Oval 21">
                <a:extLst>
                  <a:ext uri="{FF2B5EF4-FFF2-40B4-BE49-F238E27FC236}">
                    <a16:creationId xmlns:a16="http://schemas.microsoft.com/office/drawing/2014/main" id="{493544F9-C51F-480D-88FF-7834CAD22DCB}"/>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23" name="Oval 22">
                <a:extLst>
                  <a:ext uri="{FF2B5EF4-FFF2-40B4-BE49-F238E27FC236}">
                    <a16:creationId xmlns:a16="http://schemas.microsoft.com/office/drawing/2014/main" id="{C816F8E0-6B20-49B4-9857-101BDE6465EF}"/>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32" name="Group 31">
              <a:extLst>
                <a:ext uri="{FF2B5EF4-FFF2-40B4-BE49-F238E27FC236}">
                  <a16:creationId xmlns:a16="http://schemas.microsoft.com/office/drawing/2014/main" id="{DADC6D64-C093-4E85-B5F4-5D144B51A4DA}"/>
                </a:ext>
              </a:extLst>
            </p:cNvPr>
            <p:cNvGrpSpPr/>
            <p:nvPr/>
          </p:nvGrpSpPr>
          <p:grpSpPr>
            <a:xfrm>
              <a:off x="5447095" y="2165777"/>
              <a:ext cx="252049" cy="252050"/>
              <a:chOff x="1445738" y="1894614"/>
              <a:chExt cx="282740" cy="282740"/>
            </a:xfrm>
          </p:grpSpPr>
          <p:sp>
            <p:nvSpPr>
              <p:cNvPr id="33" name="Oval 32">
                <a:extLst>
                  <a:ext uri="{FF2B5EF4-FFF2-40B4-BE49-F238E27FC236}">
                    <a16:creationId xmlns:a16="http://schemas.microsoft.com/office/drawing/2014/main" id="{11A38D4F-C265-4644-8FAE-5AB47A857088}"/>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34" name="Oval 33">
                <a:extLst>
                  <a:ext uri="{FF2B5EF4-FFF2-40B4-BE49-F238E27FC236}">
                    <a16:creationId xmlns:a16="http://schemas.microsoft.com/office/drawing/2014/main" id="{49743D2B-4163-4A21-83F4-FE99D68A45C1}"/>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43" name="Group 42">
              <a:extLst>
                <a:ext uri="{FF2B5EF4-FFF2-40B4-BE49-F238E27FC236}">
                  <a16:creationId xmlns:a16="http://schemas.microsoft.com/office/drawing/2014/main" id="{B57551DF-4089-4DC3-AB0A-6048BAA9A620}"/>
                </a:ext>
              </a:extLst>
            </p:cNvPr>
            <p:cNvGrpSpPr/>
            <p:nvPr/>
          </p:nvGrpSpPr>
          <p:grpSpPr>
            <a:xfrm>
              <a:off x="5447095" y="2479199"/>
              <a:ext cx="252049" cy="252050"/>
              <a:chOff x="1445738" y="1894614"/>
              <a:chExt cx="282740" cy="282740"/>
            </a:xfrm>
          </p:grpSpPr>
          <p:sp>
            <p:nvSpPr>
              <p:cNvPr id="44" name="Oval 43">
                <a:extLst>
                  <a:ext uri="{FF2B5EF4-FFF2-40B4-BE49-F238E27FC236}">
                    <a16:creationId xmlns:a16="http://schemas.microsoft.com/office/drawing/2014/main" id="{CF9ED316-7A63-40DC-9B96-ABF8E3B3B0DC}"/>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45" name="Oval 44">
                <a:extLst>
                  <a:ext uri="{FF2B5EF4-FFF2-40B4-BE49-F238E27FC236}">
                    <a16:creationId xmlns:a16="http://schemas.microsoft.com/office/drawing/2014/main" id="{10BBD232-FDCC-4320-B848-1045EF73A30D}"/>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54" name="Group 53">
              <a:extLst>
                <a:ext uri="{FF2B5EF4-FFF2-40B4-BE49-F238E27FC236}">
                  <a16:creationId xmlns:a16="http://schemas.microsoft.com/office/drawing/2014/main" id="{44F879F9-5377-41EE-A198-0FBA40CC7EF9}"/>
                </a:ext>
              </a:extLst>
            </p:cNvPr>
            <p:cNvGrpSpPr/>
            <p:nvPr/>
          </p:nvGrpSpPr>
          <p:grpSpPr>
            <a:xfrm>
              <a:off x="5447095" y="2792622"/>
              <a:ext cx="252049" cy="252050"/>
              <a:chOff x="1445738" y="1894614"/>
              <a:chExt cx="282740" cy="282740"/>
            </a:xfrm>
          </p:grpSpPr>
          <p:sp>
            <p:nvSpPr>
              <p:cNvPr id="55" name="Oval 54">
                <a:extLst>
                  <a:ext uri="{FF2B5EF4-FFF2-40B4-BE49-F238E27FC236}">
                    <a16:creationId xmlns:a16="http://schemas.microsoft.com/office/drawing/2014/main" id="{A5789752-B0E6-415D-A3CF-761BAF6C89E6}"/>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56" name="Oval 55">
                <a:extLst>
                  <a:ext uri="{FF2B5EF4-FFF2-40B4-BE49-F238E27FC236}">
                    <a16:creationId xmlns:a16="http://schemas.microsoft.com/office/drawing/2014/main" id="{25555CCB-15AE-4349-83B6-EF70E8B46C20}"/>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65" name="Group 64">
              <a:extLst>
                <a:ext uri="{FF2B5EF4-FFF2-40B4-BE49-F238E27FC236}">
                  <a16:creationId xmlns:a16="http://schemas.microsoft.com/office/drawing/2014/main" id="{EED18759-597E-4131-8F62-A872280C0D4D}"/>
                </a:ext>
              </a:extLst>
            </p:cNvPr>
            <p:cNvGrpSpPr/>
            <p:nvPr/>
          </p:nvGrpSpPr>
          <p:grpSpPr>
            <a:xfrm>
              <a:off x="5447095" y="3106044"/>
              <a:ext cx="252049" cy="252050"/>
              <a:chOff x="1445738" y="1894614"/>
              <a:chExt cx="282740" cy="282740"/>
            </a:xfrm>
          </p:grpSpPr>
          <p:sp>
            <p:nvSpPr>
              <p:cNvPr id="66" name="Oval 65">
                <a:extLst>
                  <a:ext uri="{FF2B5EF4-FFF2-40B4-BE49-F238E27FC236}">
                    <a16:creationId xmlns:a16="http://schemas.microsoft.com/office/drawing/2014/main" id="{B5313EE4-1CA6-49EC-96C8-2F2730472EC3}"/>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67" name="Oval 66">
                <a:extLst>
                  <a:ext uri="{FF2B5EF4-FFF2-40B4-BE49-F238E27FC236}">
                    <a16:creationId xmlns:a16="http://schemas.microsoft.com/office/drawing/2014/main" id="{8C46E7A6-A59A-485B-8B11-3FA9D611D557}"/>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76" name="Group 75">
              <a:extLst>
                <a:ext uri="{FF2B5EF4-FFF2-40B4-BE49-F238E27FC236}">
                  <a16:creationId xmlns:a16="http://schemas.microsoft.com/office/drawing/2014/main" id="{21843021-7899-4EB3-8F36-AAA671F774D9}"/>
                </a:ext>
              </a:extLst>
            </p:cNvPr>
            <p:cNvGrpSpPr/>
            <p:nvPr/>
          </p:nvGrpSpPr>
          <p:grpSpPr>
            <a:xfrm>
              <a:off x="5447095" y="3419467"/>
              <a:ext cx="252049" cy="252050"/>
              <a:chOff x="1445738" y="1894614"/>
              <a:chExt cx="282740" cy="282740"/>
            </a:xfrm>
          </p:grpSpPr>
          <p:sp>
            <p:nvSpPr>
              <p:cNvPr id="77" name="Oval 76">
                <a:extLst>
                  <a:ext uri="{FF2B5EF4-FFF2-40B4-BE49-F238E27FC236}">
                    <a16:creationId xmlns:a16="http://schemas.microsoft.com/office/drawing/2014/main" id="{56DC5FCC-17F5-46AA-AB94-ED39B9969DC6}"/>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78" name="Oval 77">
                <a:extLst>
                  <a:ext uri="{FF2B5EF4-FFF2-40B4-BE49-F238E27FC236}">
                    <a16:creationId xmlns:a16="http://schemas.microsoft.com/office/drawing/2014/main" id="{08A1DF8A-D69A-496F-87DD-406685542B94}"/>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87" name="Group 86">
              <a:extLst>
                <a:ext uri="{FF2B5EF4-FFF2-40B4-BE49-F238E27FC236}">
                  <a16:creationId xmlns:a16="http://schemas.microsoft.com/office/drawing/2014/main" id="{5C84DECD-E235-49DB-8E11-63675A976541}"/>
                </a:ext>
              </a:extLst>
            </p:cNvPr>
            <p:cNvGrpSpPr/>
            <p:nvPr/>
          </p:nvGrpSpPr>
          <p:grpSpPr>
            <a:xfrm>
              <a:off x="5447095" y="3732889"/>
              <a:ext cx="252049" cy="252050"/>
              <a:chOff x="1445738" y="1894614"/>
              <a:chExt cx="282740" cy="282740"/>
            </a:xfrm>
          </p:grpSpPr>
          <p:sp>
            <p:nvSpPr>
              <p:cNvPr id="88" name="Oval 87">
                <a:extLst>
                  <a:ext uri="{FF2B5EF4-FFF2-40B4-BE49-F238E27FC236}">
                    <a16:creationId xmlns:a16="http://schemas.microsoft.com/office/drawing/2014/main" id="{6A2215FC-BF1C-43DE-A57D-7C6042D31016}"/>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89" name="Oval 88">
                <a:extLst>
                  <a:ext uri="{FF2B5EF4-FFF2-40B4-BE49-F238E27FC236}">
                    <a16:creationId xmlns:a16="http://schemas.microsoft.com/office/drawing/2014/main" id="{9807575C-75FF-4412-ADD3-2981A0F521B8}"/>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98" name="Group 97">
              <a:extLst>
                <a:ext uri="{FF2B5EF4-FFF2-40B4-BE49-F238E27FC236}">
                  <a16:creationId xmlns:a16="http://schemas.microsoft.com/office/drawing/2014/main" id="{BCEA8660-EEAC-4121-9985-1540D588AEF3}"/>
                </a:ext>
              </a:extLst>
            </p:cNvPr>
            <p:cNvGrpSpPr/>
            <p:nvPr/>
          </p:nvGrpSpPr>
          <p:grpSpPr>
            <a:xfrm>
              <a:off x="5447095" y="4046312"/>
              <a:ext cx="252049" cy="252050"/>
              <a:chOff x="1445738" y="1894614"/>
              <a:chExt cx="282740" cy="282740"/>
            </a:xfrm>
          </p:grpSpPr>
          <p:sp>
            <p:nvSpPr>
              <p:cNvPr id="99" name="Oval 98">
                <a:extLst>
                  <a:ext uri="{FF2B5EF4-FFF2-40B4-BE49-F238E27FC236}">
                    <a16:creationId xmlns:a16="http://schemas.microsoft.com/office/drawing/2014/main" id="{B6BB1C83-B9C3-4428-9570-93B060C1158F}"/>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00" name="Oval 99">
                <a:extLst>
                  <a:ext uri="{FF2B5EF4-FFF2-40B4-BE49-F238E27FC236}">
                    <a16:creationId xmlns:a16="http://schemas.microsoft.com/office/drawing/2014/main" id="{84ACEDA4-88A8-43CD-836A-88B120E595B3}"/>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109" name="Group 108">
              <a:extLst>
                <a:ext uri="{FF2B5EF4-FFF2-40B4-BE49-F238E27FC236}">
                  <a16:creationId xmlns:a16="http://schemas.microsoft.com/office/drawing/2014/main" id="{AE4193F0-9DE7-48E1-BE20-AB6C20C02950}"/>
                </a:ext>
              </a:extLst>
            </p:cNvPr>
            <p:cNvGrpSpPr/>
            <p:nvPr/>
          </p:nvGrpSpPr>
          <p:grpSpPr>
            <a:xfrm>
              <a:off x="5447095" y="4359734"/>
              <a:ext cx="252049" cy="252050"/>
              <a:chOff x="1445738" y="1894614"/>
              <a:chExt cx="282740" cy="282740"/>
            </a:xfrm>
          </p:grpSpPr>
          <p:sp>
            <p:nvSpPr>
              <p:cNvPr id="110" name="Oval 109">
                <a:extLst>
                  <a:ext uri="{FF2B5EF4-FFF2-40B4-BE49-F238E27FC236}">
                    <a16:creationId xmlns:a16="http://schemas.microsoft.com/office/drawing/2014/main" id="{3EDD53B8-5127-4169-9987-4B6C6BC9C53B}"/>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11" name="Oval 110">
                <a:extLst>
                  <a:ext uri="{FF2B5EF4-FFF2-40B4-BE49-F238E27FC236}">
                    <a16:creationId xmlns:a16="http://schemas.microsoft.com/office/drawing/2014/main" id="{9E441D12-8C6D-4EB4-B874-9368099475C8}"/>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20" name="Group 119">
              <a:extLst>
                <a:ext uri="{FF2B5EF4-FFF2-40B4-BE49-F238E27FC236}">
                  <a16:creationId xmlns:a16="http://schemas.microsoft.com/office/drawing/2014/main" id="{CB444C75-44FE-4DBB-AD60-939752C62A8F}"/>
                </a:ext>
              </a:extLst>
            </p:cNvPr>
            <p:cNvGrpSpPr/>
            <p:nvPr/>
          </p:nvGrpSpPr>
          <p:grpSpPr>
            <a:xfrm>
              <a:off x="5447095" y="4673157"/>
              <a:ext cx="252049" cy="252050"/>
              <a:chOff x="1445738" y="1894614"/>
              <a:chExt cx="282740" cy="282740"/>
            </a:xfrm>
          </p:grpSpPr>
          <p:sp>
            <p:nvSpPr>
              <p:cNvPr id="121" name="Oval 120">
                <a:extLst>
                  <a:ext uri="{FF2B5EF4-FFF2-40B4-BE49-F238E27FC236}">
                    <a16:creationId xmlns:a16="http://schemas.microsoft.com/office/drawing/2014/main" id="{546E234E-CF19-43C0-BE99-BE9FC4C66C3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22" name="Oval 121">
                <a:extLst>
                  <a:ext uri="{FF2B5EF4-FFF2-40B4-BE49-F238E27FC236}">
                    <a16:creationId xmlns:a16="http://schemas.microsoft.com/office/drawing/2014/main" id="{7EA9F3A8-6D95-48D3-8D46-23EB8967532D}"/>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31" name="Group 130">
              <a:extLst>
                <a:ext uri="{FF2B5EF4-FFF2-40B4-BE49-F238E27FC236}">
                  <a16:creationId xmlns:a16="http://schemas.microsoft.com/office/drawing/2014/main" id="{5115DA8F-D06A-44F0-B1FD-575CA599976E}"/>
                </a:ext>
              </a:extLst>
            </p:cNvPr>
            <p:cNvGrpSpPr/>
            <p:nvPr/>
          </p:nvGrpSpPr>
          <p:grpSpPr>
            <a:xfrm>
              <a:off x="5447095" y="4986579"/>
              <a:ext cx="252049" cy="252050"/>
              <a:chOff x="1445738" y="1894614"/>
              <a:chExt cx="282740" cy="282740"/>
            </a:xfrm>
          </p:grpSpPr>
          <p:sp>
            <p:nvSpPr>
              <p:cNvPr id="132" name="Oval 131">
                <a:extLst>
                  <a:ext uri="{FF2B5EF4-FFF2-40B4-BE49-F238E27FC236}">
                    <a16:creationId xmlns:a16="http://schemas.microsoft.com/office/drawing/2014/main" id="{0515D068-D0EA-47A6-8EF1-5CBF9E0029C4}"/>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33" name="Oval 132">
                <a:extLst>
                  <a:ext uri="{FF2B5EF4-FFF2-40B4-BE49-F238E27FC236}">
                    <a16:creationId xmlns:a16="http://schemas.microsoft.com/office/drawing/2014/main" id="{B88CA4C9-354C-48E8-B895-AFB7F420FF34}"/>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42" name="Group 141">
              <a:extLst>
                <a:ext uri="{FF2B5EF4-FFF2-40B4-BE49-F238E27FC236}">
                  <a16:creationId xmlns:a16="http://schemas.microsoft.com/office/drawing/2014/main" id="{2D226A4C-115C-46C2-B29E-38DF7DEA5B00}"/>
                </a:ext>
              </a:extLst>
            </p:cNvPr>
            <p:cNvGrpSpPr/>
            <p:nvPr/>
          </p:nvGrpSpPr>
          <p:grpSpPr>
            <a:xfrm>
              <a:off x="5447095" y="5300002"/>
              <a:ext cx="252049" cy="252050"/>
              <a:chOff x="1445738" y="1894614"/>
              <a:chExt cx="282740" cy="282740"/>
            </a:xfrm>
          </p:grpSpPr>
          <p:sp>
            <p:nvSpPr>
              <p:cNvPr id="143" name="Oval 142">
                <a:extLst>
                  <a:ext uri="{FF2B5EF4-FFF2-40B4-BE49-F238E27FC236}">
                    <a16:creationId xmlns:a16="http://schemas.microsoft.com/office/drawing/2014/main" id="{02CA7DE9-25DE-4A93-AD33-6E5E4FCD948C}"/>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44" name="Oval 143">
                <a:extLst>
                  <a:ext uri="{FF2B5EF4-FFF2-40B4-BE49-F238E27FC236}">
                    <a16:creationId xmlns:a16="http://schemas.microsoft.com/office/drawing/2014/main" id="{0F3FF389-6AF8-41D0-A978-88A05BAF40F0}"/>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152" name="Group 151">
              <a:extLst>
                <a:ext uri="{FF2B5EF4-FFF2-40B4-BE49-F238E27FC236}">
                  <a16:creationId xmlns:a16="http://schemas.microsoft.com/office/drawing/2014/main" id="{3897D74B-C3A3-482C-9420-F981E5EA4462}"/>
                </a:ext>
              </a:extLst>
            </p:cNvPr>
            <p:cNvGrpSpPr/>
            <p:nvPr/>
          </p:nvGrpSpPr>
          <p:grpSpPr>
            <a:xfrm>
              <a:off x="5447095" y="5613424"/>
              <a:ext cx="252049" cy="252050"/>
              <a:chOff x="1445738" y="1894614"/>
              <a:chExt cx="282740" cy="282740"/>
            </a:xfrm>
          </p:grpSpPr>
          <p:sp>
            <p:nvSpPr>
              <p:cNvPr id="153" name="Oval 152">
                <a:extLst>
                  <a:ext uri="{FF2B5EF4-FFF2-40B4-BE49-F238E27FC236}">
                    <a16:creationId xmlns:a16="http://schemas.microsoft.com/office/drawing/2014/main" id="{D10C432F-1502-4E8A-A110-DBCC6B2EE26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54" name="Oval 153">
                <a:extLst>
                  <a:ext uri="{FF2B5EF4-FFF2-40B4-BE49-F238E27FC236}">
                    <a16:creationId xmlns:a16="http://schemas.microsoft.com/office/drawing/2014/main" id="{F0CEA1E0-340D-4252-9DEB-66AC18A3CBFC}"/>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grpSp>
        <p:nvGrpSpPr>
          <p:cNvPr id="168" name="Group 167">
            <a:extLst>
              <a:ext uri="{FF2B5EF4-FFF2-40B4-BE49-F238E27FC236}">
                <a16:creationId xmlns:a16="http://schemas.microsoft.com/office/drawing/2014/main" id="{3FE36DA1-CE58-48E2-A7F1-564F0C89F7C4}"/>
              </a:ext>
            </a:extLst>
          </p:cNvPr>
          <p:cNvGrpSpPr/>
          <p:nvPr/>
        </p:nvGrpSpPr>
        <p:grpSpPr>
          <a:xfrm>
            <a:off x="7954800" y="1538932"/>
            <a:ext cx="252049" cy="4326542"/>
            <a:chOff x="7086820" y="1538932"/>
            <a:chExt cx="252049" cy="4326542"/>
          </a:xfrm>
        </p:grpSpPr>
        <p:grpSp>
          <p:nvGrpSpPr>
            <p:cNvPr id="13" name="Group 12">
              <a:extLst>
                <a:ext uri="{FF2B5EF4-FFF2-40B4-BE49-F238E27FC236}">
                  <a16:creationId xmlns:a16="http://schemas.microsoft.com/office/drawing/2014/main" id="{BD5B77E4-F8D1-4296-9A95-3F11AF0ED7A4}"/>
                </a:ext>
              </a:extLst>
            </p:cNvPr>
            <p:cNvGrpSpPr/>
            <p:nvPr/>
          </p:nvGrpSpPr>
          <p:grpSpPr>
            <a:xfrm>
              <a:off x="7086820" y="1538932"/>
              <a:ext cx="252049" cy="252050"/>
              <a:chOff x="1445738" y="1894614"/>
              <a:chExt cx="282740" cy="282740"/>
            </a:xfrm>
          </p:grpSpPr>
          <p:sp>
            <p:nvSpPr>
              <p:cNvPr id="14" name="Oval 13">
                <a:extLst>
                  <a:ext uri="{FF2B5EF4-FFF2-40B4-BE49-F238E27FC236}">
                    <a16:creationId xmlns:a16="http://schemas.microsoft.com/office/drawing/2014/main" id="{9E31B12F-B574-4FF4-8A26-D66BF78C6E27}"/>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5" name="Oval 14">
                <a:extLst>
                  <a:ext uri="{FF2B5EF4-FFF2-40B4-BE49-F238E27FC236}">
                    <a16:creationId xmlns:a16="http://schemas.microsoft.com/office/drawing/2014/main" id="{2D3CE428-81F1-4A03-A6DE-1A69702FE848}"/>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24" name="Group 23">
              <a:extLst>
                <a:ext uri="{FF2B5EF4-FFF2-40B4-BE49-F238E27FC236}">
                  <a16:creationId xmlns:a16="http://schemas.microsoft.com/office/drawing/2014/main" id="{3767D7D2-1FF5-4DF7-A336-3616296DCC31}"/>
                </a:ext>
              </a:extLst>
            </p:cNvPr>
            <p:cNvGrpSpPr/>
            <p:nvPr/>
          </p:nvGrpSpPr>
          <p:grpSpPr>
            <a:xfrm>
              <a:off x="7086820" y="1852354"/>
              <a:ext cx="252049" cy="252050"/>
              <a:chOff x="1445738" y="1894614"/>
              <a:chExt cx="282740" cy="282740"/>
            </a:xfrm>
          </p:grpSpPr>
          <p:sp>
            <p:nvSpPr>
              <p:cNvPr id="25" name="Oval 24">
                <a:extLst>
                  <a:ext uri="{FF2B5EF4-FFF2-40B4-BE49-F238E27FC236}">
                    <a16:creationId xmlns:a16="http://schemas.microsoft.com/office/drawing/2014/main" id="{5B569EF9-0482-4584-8B66-3CA65A2B4876}"/>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26" name="Oval 25">
                <a:extLst>
                  <a:ext uri="{FF2B5EF4-FFF2-40B4-BE49-F238E27FC236}">
                    <a16:creationId xmlns:a16="http://schemas.microsoft.com/office/drawing/2014/main" id="{6E33A527-525E-461B-ABFC-299BD2314EC0}"/>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35" name="Group 34">
              <a:extLst>
                <a:ext uri="{FF2B5EF4-FFF2-40B4-BE49-F238E27FC236}">
                  <a16:creationId xmlns:a16="http://schemas.microsoft.com/office/drawing/2014/main" id="{BB0C52FB-8216-4F19-9E59-D492558BF597}"/>
                </a:ext>
              </a:extLst>
            </p:cNvPr>
            <p:cNvGrpSpPr/>
            <p:nvPr/>
          </p:nvGrpSpPr>
          <p:grpSpPr>
            <a:xfrm>
              <a:off x="7086820" y="2165777"/>
              <a:ext cx="252049" cy="252050"/>
              <a:chOff x="1445738" y="1894614"/>
              <a:chExt cx="282740" cy="282740"/>
            </a:xfrm>
          </p:grpSpPr>
          <p:sp>
            <p:nvSpPr>
              <p:cNvPr id="36" name="Oval 35">
                <a:extLst>
                  <a:ext uri="{FF2B5EF4-FFF2-40B4-BE49-F238E27FC236}">
                    <a16:creationId xmlns:a16="http://schemas.microsoft.com/office/drawing/2014/main" id="{D80961FA-76B0-4AC0-B46F-C30BD2FB720C}"/>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37" name="Oval 36">
                <a:extLst>
                  <a:ext uri="{FF2B5EF4-FFF2-40B4-BE49-F238E27FC236}">
                    <a16:creationId xmlns:a16="http://schemas.microsoft.com/office/drawing/2014/main" id="{9AC89ABD-14D4-4113-B686-0F45D9D9F7D7}"/>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46" name="Group 45">
              <a:extLst>
                <a:ext uri="{FF2B5EF4-FFF2-40B4-BE49-F238E27FC236}">
                  <a16:creationId xmlns:a16="http://schemas.microsoft.com/office/drawing/2014/main" id="{45CAB3D8-CC46-44F9-ABFF-C39AAECCC408}"/>
                </a:ext>
              </a:extLst>
            </p:cNvPr>
            <p:cNvGrpSpPr/>
            <p:nvPr/>
          </p:nvGrpSpPr>
          <p:grpSpPr>
            <a:xfrm>
              <a:off x="7086820" y="2479199"/>
              <a:ext cx="252049" cy="252050"/>
              <a:chOff x="1445738" y="1894614"/>
              <a:chExt cx="282740" cy="282740"/>
            </a:xfrm>
          </p:grpSpPr>
          <p:sp>
            <p:nvSpPr>
              <p:cNvPr id="47" name="Oval 46">
                <a:extLst>
                  <a:ext uri="{FF2B5EF4-FFF2-40B4-BE49-F238E27FC236}">
                    <a16:creationId xmlns:a16="http://schemas.microsoft.com/office/drawing/2014/main" id="{BD63D25F-8828-43D3-80D0-D239EF48841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48" name="Oval 47">
                <a:extLst>
                  <a:ext uri="{FF2B5EF4-FFF2-40B4-BE49-F238E27FC236}">
                    <a16:creationId xmlns:a16="http://schemas.microsoft.com/office/drawing/2014/main" id="{AE5122F5-3215-42E8-84FD-F4E5044EFD8C}"/>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57" name="Group 56">
              <a:extLst>
                <a:ext uri="{FF2B5EF4-FFF2-40B4-BE49-F238E27FC236}">
                  <a16:creationId xmlns:a16="http://schemas.microsoft.com/office/drawing/2014/main" id="{9EAE738C-9A90-4F6B-800F-1E43F4D75598}"/>
                </a:ext>
              </a:extLst>
            </p:cNvPr>
            <p:cNvGrpSpPr/>
            <p:nvPr/>
          </p:nvGrpSpPr>
          <p:grpSpPr>
            <a:xfrm>
              <a:off x="7086820" y="2792622"/>
              <a:ext cx="252049" cy="252050"/>
              <a:chOff x="1445738" y="1894614"/>
              <a:chExt cx="282740" cy="282740"/>
            </a:xfrm>
          </p:grpSpPr>
          <p:sp>
            <p:nvSpPr>
              <p:cNvPr id="58" name="Oval 57">
                <a:extLst>
                  <a:ext uri="{FF2B5EF4-FFF2-40B4-BE49-F238E27FC236}">
                    <a16:creationId xmlns:a16="http://schemas.microsoft.com/office/drawing/2014/main" id="{4F5269B3-B03F-4EE5-94D9-AC7C2966677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59" name="Oval 58">
                <a:extLst>
                  <a:ext uri="{FF2B5EF4-FFF2-40B4-BE49-F238E27FC236}">
                    <a16:creationId xmlns:a16="http://schemas.microsoft.com/office/drawing/2014/main" id="{F64FCA51-332D-490E-AB9C-BBD789F89FF7}"/>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68" name="Group 67">
              <a:extLst>
                <a:ext uri="{FF2B5EF4-FFF2-40B4-BE49-F238E27FC236}">
                  <a16:creationId xmlns:a16="http://schemas.microsoft.com/office/drawing/2014/main" id="{E51D4F85-AC2E-401F-A1B7-572A9BFF94E6}"/>
                </a:ext>
              </a:extLst>
            </p:cNvPr>
            <p:cNvGrpSpPr/>
            <p:nvPr/>
          </p:nvGrpSpPr>
          <p:grpSpPr>
            <a:xfrm>
              <a:off x="7086820" y="3106044"/>
              <a:ext cx="252049" cy="252050"/>
              <a:chOff x="1445738" y="1894614"/>
              <a:chExt cx="282740" cy="282740"/>
            </a:xfrm>
          </p:grpSpPr>
          <p:sp>
            <p:nvSpPr>
              <p:cNvPr id="69" name="Oval 68">
                <a:extLst>
                  <a:ext uri="{FF2B5EF4-FFF2-40B4-BE49-F238E27FC236}">
                    <a16:creationId xmlns:a16="http://schemas.microsoft.com/office/drawing/2014/main" id="{B1A29069-C714-4AA3-820E-E564D417516E}"/>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70" name="Oval 69">
                <a:extLst>
                  <a:ext uri="{FF2B5EF4-FFF2-40B4-BE49-F238E27FC236}">
                    <a16:creationId xmlns:a16="http://schemas.microsoft.com/office/drawing/2014/main" id="{26A24C59-1E52-4C81-97B7-3CB394FBD46A}"/>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79" name="Group 78">
              <a:extLst>
                <a:ext uri="{FF2B5EF4-FFF2-40B4-BE49-F238E27FC236}">
                  <a16:creationId xmlns:a16="http://schemas.microsoft.com/office/drawing/2014/main" id="{16DB5767-7580-4EC8-9824-F1BE038BDC17}"/>
                </a:ext>
              </a:extLst>
            </p:cNvPr>
            <p:cNvGrpSpPr/>
            <p:nvPr/>
          </p:nvGrpSpPr>
          <p:grpSpPr>
            <a:xfrm>
              <a:off x="7086820" y="3419467"/>
              <a:ext cx="252049" cy="252050"/>
              <a:chOff x="1445738" y="1894614"/>
              <a:chExt cx="282740" cy="282740"/>
            </a:xfrm>
          </p:grpSpPr>
          <p:sp>
            <p:nvSpPr>
              <p:cNvPr id="80" name="Oval 79">
                <a:extLst>
                  <a:ext uri="{FF2B5EF4-FFF2-40B4-BE49-F238E27FC236}">
                    <a16:creationId xmlns:a16="http://schemas.microsoft.com/office/drawing/2014/main" id="{BB28E2CB-D811-4EC2-B5E6-1715F6CDB6C8}"/>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81" name="Oval 80">
                <a:extLst>
                  <a:ext uri="{FF2B5EF4-FFF2-40B4-BE49-F238E27FC236}">
                    <a16:creationId xmlns:a16="http://schemas.microsoft.com/office/drawing/2014/main" id="{3180B15B-9D61-489B-BC37-813006F5F0F9}"/>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90" name="Group 89">
              <a:extLst>
                <a:ext uri="{FF2B5EF4-FFF2-40B4-BE49-F238E27FC236}">
                  <a16:creationId xmlns:a16="http://schemas.microsoft.com/office/drawing/2014/main" id="{08FF8D5C-4953-4C2A-B13B-DEE1A6D62FD2}"/>
                </a:ext>
              </a:extLst>
            </p:cNvPr>
            <p:cNvGrpSpPr/>
            <p:nvPr/>
          </p:nvGrpSpPr>
          <p:grpSpPr>
            <a:xfrm>
              <a:off x="7086820" y="3732889"/>
              <a:ext cx="252049" cy="252050"/>
              <a:chOff x="1445738" y="1894614"/>
              <a:chExt cx="282740" cy="282740"/>
            </a:xfrm>
          </p:grpSpPr>
          <p:sp>
            <p:nvSpPr>
              <p:cNvPr id="91" name="Oval 90">
                <a:extLst>
                  <a:ext uri="{FF2B5EF4-FFF2-40B4-BE49-F238E27FC236}">
                    <a16:creationId xmlns:a16="http://schemas.microsoft.com/office/drawing/2014/main" id="{591CACD2-6F4E-4F69-B7B4-7CC07128048F}"/>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92" name="Oval 91">
                <a:extLst>
                  <a:ext uri="{FF2B5EF4-FFF2-40B4-BE49-F238E27FC236}">
                    <a16:creationId xmlns:a16="http://schemas.microsoft.com/office/drawing/2014/main" id="{2724C2F3-0217-4025-BC92-CCD8E747CF4B}"/>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101" name="Group 100">
              <a:extLst>
                <a:ext uri="{FF2B5EF4-FFF2-40B4-BE49-F238E27FC236}">
                  <a16:creationId xmlns:a16="http://schemas.microsoft.com/office/drawing/2014/main" id="{5E99B70A-B95C-41EB-ACC1-AAC507C0D98E}"/>
                </a:ext>
              </a:extLst>
            </p:cNvPr>
            <p:cNvGrpSpPr/>
            <p:nvPr/>
          </p:nvGrpSpPr>
          <p:grpSpPr>
            <a:xfrm>
              <a:off x="7086820" y="4046312"/>
              <a:ext cx="252049" cy="252050"/>
              <a:chOff x="1445738" y="1894614"/>
              <a:chExt cx="282740" cy="282740"/>
            </a:xfrm>
          </p:grpSpPr>
          <p:sp>
            <p:nvSpPr>
              <p:cNvPr id="102" name="Oval 101">
                <a:extLst>
                  <a:ext uri="{FF2B5EF4-FFF2-40B4-BE49-F238E27FC236}">
                    <a16:creationId xmlns:a16="http://schemas.microsoft.com/office/drawing/2014/main" id="{EB68ACFF-3B8B-46D5-84C1-9F7C1483A7EE}"/>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03" name="Oval 102">
                <a:extLst>
                  <a:ext uri="{FF2B5EF4-FFF2-40B4-BE49-F238E27FC236}">
                    <a16:creationId xmlns:a16="http://schemas.microsoft.com/office/drawing/2014/main" id="{46FBC951-38E9-416C-BEFB-004B3A73931B}"/>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12" name="Group 111">
              <a:extLst>
                <a:ext uri="{FF2B5EF4-FFF2-40B4-BE49-F238E27FC236}">
                  <a16:creationId xmlns:a16="http://schemas.microsoft.com/office/drawing/2014/main" id="{8FAB237F-6D8C-4878-A53E-2F66E1962248}"/>
                </a:ext>
              </a:extLst>
            </p:cNvPr>
            <p:cNvGrpSpPr/>
            <p:nvPr/>
          </p:nvGrpSpPr>
          <p:grpSpPr>
            <a:xfrm>
              <a:off x="7086820" y="4359734"/>
              <a:ext cx="252049" cy="252050"/>
              <a:chOff x="1445738" y="1894614"/>
              <a:chExt cx="282740" cy="282740"/>
            </a:xfrm>
          </p:grpSpPr>
          <p:sp>
            <p:nvSpPr>
              <p:cNvPr id="113" name="Oval 112">
                <a:extLst>
                  <a:ext uri="{FF2B5EF4-FFF2-40B4-BE49-F238E27FC236}">
                    <a16:creationId xmlns:a16="http://schemas.microsoft.com/office/drawing/2014/main" id="{939DAF3F-B2A0-4A02-B167-8E94BE0C3CE3}"/>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14" name="Oval 113">
                <a:extLst>
                  <a:ext uri="{FF2B5EF4-FFF2-40B4-BE49-F238E27FC236}">
                    <a16:creationId xmlns:a16="http://schemas.microsoft.com/office/drawing/2014/main" id="{978FC829-8B9E-4902-B569-B0B21278CF48}"/>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23" name="Group 122">
              <a:extLst>
                <a:ext uri="{FF2B5EF4-FFF2-40B4-BE49-F238E27FC236}">
                  <a16:creationId xmlns:a16="http://schemas.microsoft.com/office/drawing/2014/main" id="{6F4BC1F2-B353-4E3A-A9BE-12CFF6B7CD17}"/>
                </a:ext>
              </a:extLst>
            </p:cNvPr>
            <p:cNvGrpSpPr/>
            <p:nvPr/>
          </p:nvGrpSpPr>
          <p:grpSpPr>
            <a:xfrm>
              <a:off x="7086820" y="4673157"/>
              <a:ext cx="252049" cy="252050"/>
              <a:chOff x="1445738" y="1894614"/>
              <a:chExt cx="282740" cy="282740"/>
            </a:xfrm>
          </p:grpSpPr>
          <p:sp>
            <p:nvSpPr>
              <p:cNvPr id="124" name="Oval 123">
                <a:extLst>
                  <a:ext uri="{FF2B5EF4-FFF2-40B4-BE49-F238E27FC236}">
                    <a16:creationId xmlns:a16="http://schemas.microsoft.com/office/drawing/2014/main" id="{78B7F23E-5E16-4027-858F-A1358FA19BD5}"/>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25" name="Oval 124">
                <a:extLst>
                  <a:ext uri="{FF2B5EF4-FFF2-40B4-BE49-F238E27FC236}">
                    <a16:creationId xmlns:a16="http://schemas.microsoft.com/office/drawing/2014/main" id="{7000D051-6336-4D7F-821E-BBE66C2632A4}"/>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34" name="Group 133">
              <a:extLst>
                <a:ext uri="{FF2B5EF4-FFF2-40B4-BE49-F238E27FC236}">
                  <a16:creationId xmlns:a16="http://schemas.microsoft.com/office/drawing/2014/main" id="{B8DC2D69-9F17-43B0-A8D4-B9E24F03B0EE}"/>
                </a:ext>
              </a:extLst>
            </p:cNvPr>
            <p:cNvGrpSpPr/>
            <p:nvPr/>
          </p:nvGrpSpPr>
          <p:grpSpPr>
            <a:xfrm>
              <a:off x="7086820" y="4986579"/>
              <a:ext cx="252049" cy="252050"/>
              <a:chOff x="1445738" y="1894614"/>
              <a:chExt cx="282740" cy="282740"/>
            </a:xfrm>
          </p:grpSpPr>
          <p:sp>
            <p:nvSpPr>
              <p:cNvPr id="135" name="Oval 134">
                <a:extLst>
                  <a:ext uri="{FF2B5EF4-FFF2-40B4-BE49-F238E27FC236}">
                    <a16:creationId xmlns:a16="http://schemas.microsoft.com/office/drawing/2014/main" id="{5726CD5E-673F-4DA6-AF43-A585E46D4C35}"/>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36" name="Oval 135">
                <a:extLst>
                  <a:ext uri="{FF2B5EF4-FFF2-40B4-BE49-F238E27FC236}">
                    <a16:creationId xmlns:a16="http://schemas.microsoft.com/office/drawing/2014/main" id="{E7228639-90E7-4CD6-B4CC-98BC5840C9B8}"/>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45" name="Group 144">
              <a:extLst>
                <a:ext uri="{FF2B5EF4-FFF2-40B4-BE49-F238E27FC236}">
                  <a16:creationId xmlns:a16="http://schemas.microsoft.com/office/drawing/2014/main" id="{7159033E-AA7F-409F-8562-B42486FF585F}"/>
                </a:ext>
              </a:extLst>
            </p:cNvPr>
            <p:cNvGrpSpPr/>
            <p:nvPr/>
          </p:nvGrpSpPr>
          <p:grpSpPr>
            <a:xfrm>
              <a:off x="7086820" y="5300002"/>
              <a:ext cx="252049" cy="252050"/>
              <a:chOff x="1445738" y="1894614"/>
              <a:chExt cx="282740" cy="282740"/>
            </a:xfrm>
          </p:grpSpPr>
          <p:sp>
            <p:nvSpPr>
              <p:cNvPr id="146" name="Oval 145">
                <a:extLst>
                  <a:ext uri="{FF2B5EF4-FFF2-40B4-BE49-F238E27FC236}">
                    <a16:creationId xmlns:a16="http://schemas.microsoft.com/office/drawing/2014/main" id="{83F7FB5A-1E8F-42AD-A57B-F4123F97D30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47" name="Oval 146">
                <a:extLst>
                  <a:ext uri="{FF2B5EF4-FFF2-40B4-BE49-F238E27FC236}">
                    <a16:creationId xmlns:a16="http://schemas.microsoft.com/office/drawing/2014/main" id="{1AE48829-F4E9-476D-8414-5294E1852D37}"/>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55" name="Group 154">
              <a:extLst>
                <a:ext uri="{FF2B5EF4-FFF2-40B4-BE49-F238E27FC236}">
                  <a16:creationId xmlns:a16="http://schemas.microsoft.com/office/drawing/2014/main" id="{6FA8375D-C1C6-46B8-A39C-16E91F9103A0}"/>
                </a:ext>
              </a:extLst>
            </p:cNvPr>
            <p:cNvGrpSpPr/>
            <p:nvPr/>
          </p:nvGrpSpPr>
          <p:grpSpPr>
            <a:xfrm>
              <a:off x="7086820" y="5613424"/>
              <a:ext cx="252049" cy="252050"/>
              <a:chOff x="1445738" y="1894614"/>
              <a:chExt cx="282740" cy="282740"/>
            </a:xfrm>
          </p:grpSpPr>
          <p:sp>
            <p:nvSpPr>
              <p:cNvPr id="156" name="Oval 155">
                <a:extLst>
                  <a:ext uri="{FF2B5EF4-FFF2-40B4-BE49-F238E27FC236}">
                    <a16:creationId xmlns:a16="http://schemas.microsoft.com/office/drawing/2014/main" id="{DA4D3E8C-9678-4B3D-BF3E-221E4929AE5A}"/>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57" name="Oval 156">
                <a:extLst>
                  <a:ext uri="{FF2B5EF4-FFF2-40B4-BE49-F238E27FC236}">
                    <a16:creationId xmlns:a16="http://schemas.microsoft.com/office/drawing/2014/main" id="{8EC6112A-EFE4-4340-8DC7-78EA4AC575BD}"/>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grpSp>
        <p:nvGrpSpPr>
          <p:cNvPr id="169" name="Group 168">
            <a:extLst>
              <a:ext uri="{FF2B5EF4-FFF2-40B4-BE49-F238E27FC236}">
                <a16:creationId xmlns:a16="http://schemas.microsoft.com/office/drawing/2014/main" id="{37099D36-E0BE-4827-9E9D-0EC932F45BCE}"/>
              </a:ext>
            </a:extLst>
          </p:cNvPr>
          <p:cNvGrpSpPr/>
          <p:nvPr/>
        </p:nvGrpSpPr>
        <p:grpSpPr>
          <a:xfrm>
            <a:off x="10392524" y="1538932"/>
            <a:ext cx="252049" cy="4326542"/>
            <a:chOff x="8726544" y="1538932"/>
            <a:chExt cx="252049" cy="4326542"/>
          </a:xfrm>
        </p:grpSpPr>
        <p:grpSp>
          <p:nvGrpSpPr>
            <p:cNvPr id="16" name="Group 15">
              <a:extLst>
                <a:ext uri="{FF2B5EF4-FFF2-40B4-BE49-F238E27FC236}">
                  <a16:creationId xmlns:a16="http://schemas.microsoft.com/office/drawing/2014/main" id="{F0C56BF1-2FD7-498F-AD52-7A5D4B774803}"/>
                </a:ext>
              </a:extLst>
            </p:cNvPr>
            <p:cNvGrpSpPr/>
            <p:nvPr/>
          </p:nvGrpSpPr>
          <p:grpSpPr>
            <a:xfrm>
              <a:off x="8726544" y="1538932"/>
              <a:ext cx="252049" cy="252050"/>
              <a:chOff x="1445738" y="1894614"/>
              <a:chExt cx="282740" cy="282740"/>
            </a:xfrm>
          </p:grpSpPr>
          <p:sp>
            <p:nvSpPr>
              <p:cNvPr id="17" name="Oval 16">
                <a:extLst>
                  <a:ext uri="{FF2B5EF4-FFF2-40B4-BE49-F238E27FC236}">
                    <a16:creationId xmlns:a16="http://schemas.microsoft.com/office/drawing/2014/main" id="{B7322798-0EEF-4F9C-8D84-A621B6ADB0FE}"/>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8" name="Oval 17">
                <a:extLst>
                  <a:ext uri="{FF2B5EF4-FFF2-40B4-BE49-F238E27FC236}">
                    <a16:creationId xmlns:a16="http://schemas.microsoft.com/office/drawing/2014/main" id="{AD7D210F-0ABD-4739-9F13-BF2208D0A576}"/>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27" name="Group 26">
              <a:extLst>
                <a:ext uri="{FF2B5EF4-FFF2-40B4-BE49-F238E27FC236}">
                  <a16:creationId xmlns:a16="http://schemas.microsoft.com/office/drawing/2014/main" id="{4A2981BA-29CB-4FCE-B813-544F74F25D4F}"/>
                </a:ext>
              </a:extLst>
            </p:cNvPr>
            <p:cNvGrpSpPr/>
            <p:nvPr/>
          </p:nvGrpSpPr>
          <p:grpSpPr>
            <a:xfrm>
              <a:off x="8726544" y="1852354"/>
              <a:ext cx="252049" cy="252050"/>
              <a:chOff x="1445738" y="1894614"/>
              <a:chExt cx="282740" cy="282740"/>
            </a:xfrm>
          </p:grpSpPr>
          <p:sp>
            <p:nvSpPr>
              <p:cNvPr id="28" name="Oval 27">
                <a:extLst>
                  <a:ext uri="{FF2B5EF4-FFF2-40B4-BE49-F238E27FC236}">
                    <a16:creationId xmlns:a16="http://schemas.microsoft.com/office/drawing/2014/main" id="{216F211C-104E-43FB-8ADF-8C61287865C0}"/>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29" name="Oval 28">
                <a:extLst>
                  <a:ext uri="{FF2B5EF4-FFF2-40B4-BE49-F238E27FC236}">
                    <a16:creationId xmlns:a16="http://schemas.microsoft.com/office/drawing/2014/main" id="{7E22AA36-D31E-44FC-9CBB-0777ED4B4634}"/>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38" name="Group 37">
              <a:extLst>
                <a:ext uri="{FF2B5EF4-FFF2-40B4-BE49-F238E27FC236}">
                  <a16:creationId xmlns:a16="http://schemas.microsoft.com/office/drawing/2014/main" id="{09FADCBE-FD40-4157-82D8-0F152EBFF46A}"/>
                </a:ext>
              </a:extLst>
            </p:cNvPr>
            <p:cNvGrpSpPr/>
            <p:nvPr/>
          </p:nvGrpSpPr>
          <p:grpSpPr>
            <a:xfrm>
              <a:off x="8726544" y="2165777"/>
              <a:ext cx="252049" cy="252050"/>
              <a:chOff x="1445738" y="1894614"/>
              <a:chExt cx="282740" cy="282740"/>
            </a:xfrm>
          </p:grpSpPr>
          <p:sp>
            <p:nvSpPr>
              <p:cNvPr id="39" name="Oval 38">
                <a:extLst>
                  <a:ext uri="{FF2B5EF4-FFF2-40B4-BE49-F238E27FC236}">
                    <a16:creationId xmlns:a16="http://schemas.microsoft.com/office/drawing/2014/main" id="{CDCA52AB-6460-4B95-90EA-18EF071C8575}"/>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40" name="Oval 39">
                <a:extLst>
                  <a:ext uri="{FF2B5EF4-FFF2-40B4-BE49-F238E27FC236}">
                    <a16:creationId xmlns:a16="http://schemas.microsoft.com/office/drawing/2014/main" id="{887D6A2D-A4CD-4439-96D3-AB5D8E60BA75}"/>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49" name="Group 48">
              <a:extLst>
                <a:ext uri="{FF2B5EF4-FFF2-40B4-BE49-F238E27FC236}">
                  <a16:creationId xmlns:a16="http://schemas.microsoft.com/office/drawing/2014/main" id="{FB3F25D7-C45C-4152-9B84-9F44173A9676}"/>
                </a:ext>
              </a:extLst>
            </p:cNvPr>
            <p:cNvGrpSpPr/>
            <p:nvPr/>
          </p:nvGrpSpPr>
          <p:grpSpPr>
            <a:xfrm>
              <a:off x="8726544" y="2479199"/>
              <a:ext cx="252049" cy="252050"/>
              <a:chOff x="1445738" y="1894614"/>
              <a:chExt cx="282740" cy="282740"/>
            </a:xfrm>
          </p:grpSpPr>
          <p:sp>
            <p:nvSpPr>
              <p:cNvPr id="50" name="Oval 49">
                <a:extLst>
                  <a:ext uri="{FF2B5EF4-FFF2-40B4-BE49-F238E27FC236}">
                    <a16:creationId xmlns:a16="http://schemas.microsoft.com/office/drawing/2014/main" id="{ACACFA2A-0F39-4875-95ED-B39DA7B02D5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51" name="Oval 50">
                <a:extLst>
                  <a:ext uri="{FF2B5EF4-FFF2-40B4-BE49-F238E27FC236}">
                    <a16:creationId xmlns:a16="http://schemas.microsoft.com/office/drawing/2014/main" id="{5D6159EB-F537-47C4-81AA-D8110F93709E}"/>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60" name="Group 59">
              <a:extLst>
                <a:ext uri="{FF2B5EF4-FFF2-40B4-BE49-F238E27FC236}">
                  <a16:creationId xmlns:a16="http://schemas.microsoft.com/office/drawing/2014/main" id="{A99390F5-7B3A-4411-8913-7E77D7A8C3D5}"/>
                </a:ext>
              </a:extLst>
            </p:cNvPr>
            <p:cNvGrpSpPr/>
            <p:nvPr/>
          </p:nvGrpSpPr>
          <p:grpSpPr>
            <a:xfrm>
              <a:off x="8726544" y="2792622"/>
              <a:ext cx="252049" cy="252050"/>
              <a:chOff x="1445738" y="1894614"/>
              <a:chExt cx="282740" cy="282740"/>
            </a:xfrm>
          </p:grpSpPr>
          <p:sp>
            <p:nvSpPr>
              <p:cNvPr id="61" name="Oval 60">
                <a:extLst>
                  <a:ext uri="{FF2B5EF4-FFF2-40B4-BE49-F238E27FC236}">
                    <a16:creationId xmlns:a16="http://schemas.microsoft.com/office/drawing/2014/main" id="{72A29BF2-5C98-49F7-A5A3-14F630F24270}"/>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62" name="Oval 61">
                <a:extLst>
                  <a:ext uri="{FF2B5EF4-FFF2-40B4-BE49-F238E27FC236}">
                    <a16:creationId xmlns:a16="http://schemas.microsoft.com/office/drawing/2014/main" id="{40195C2A-F42E-4924-96CD-7571C74C3325}"/>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71" name="Group 70">
              <a:extLst>
                <a:ext uri="{FF2B5EF4-FFF2-40B4-BE49-F238E27FC236}">
                  <a16:creationId xmlns:a16="http://schemas.microsoft.com/office/drawing/2014/main" id="{4F36DD95-12E8-4F01-970E-BC237F3112FF}"/>
                </a:ext>
              </a:extLst>
            </p:cNvPr>
            <p:cNvGrpSpPr/>
            <p:nvPr/>
          </p:nvGrpSpPr>
          <p:grpSpPr>
            <a:xfrm>
              <a:off x="8726544" y="3106044"/>
              <a:ext cx="252049" cy="252050"/>
              <a:chOff x="1445738" y="1894614"/>
              <a:chExt cx="282740" cy="282740"/>
            </a:xfrm>
          </p:grpSpPr>
          <p:sp>
            <p:nvSpPr>
              <p:cNvPr id="72" name="Oval 71">
                <a:extLst>
                  <a:ext uri="{FF2B5EF4-FFF2-40B4-BE49-F238E27FC236}">
                    <a16:creationId xmlns:a16="http://schemas.microsoft.com/office/drawing/2014/main" id="{E5A3A25B-F818-4710-A2D9-CD87F7B022A0}"/>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73" name="Oval 72">
                <a:extLst>
                  <a:ext uri="{FF2B5EF4-FFF2-40B4-BE49-F238E27FC236}">
                    <a16:creationId xmlns:a16="http://schemas.microsoft.com/office/drawing/2014/main" id="{5D8F10FF-D3AD-4F18-8F52-C3AB739E854B}"/>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82" name="Group 81">
              <a:extLst>
                <a:ext uri="{FF2B5EF4-FFF2-40B4-BE49-F238E27FC236}">
                  <a16:creationId xmlns:a16="http://schemas.microsoft.com/office/drawing/2014/main" id="{F5731E7B-3E36-4FBB-B7AC-B7EBD59BCCCC}"/>
                </a:ext>
              </a:extLst>
            </p:cNvPr>
            <p:cNvGrpSpPr/>
            <p:nvPr/>
          </p:nvGrpSpPr>
          <p:grpSpPr>
            <a:xfrm>
              <a:off x="8726544" y="3419467"/>
              <a:ext cx="252049" cy="252050"/>
              <a:chOff x="1445738" y="1894614"/>
              <a:chExt cx="282740" cy="282740"/>
            </a:xfrm>
          </p:grpSpPr>
          <p:sp>
            <p:nvSpPr>
              <p:cNvPr id="83" name="Oval 82">
                <a:extLst>
                  <a:ext uri="{FF2B5EF4-FFF2-40B4-BE49-F238E27FC236}">
                    <a16:creationId xmlns:a16="http://schemas.microsoft.com/office/drawing/2014/main" id="{09F779D8-6556-45EC-92AB-69E2FD4898F7}"/>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84" name="Oval 83">
                <a:extLst>
                  <a:ext uri="{FF2B5EF4-FFF2-40B4-BE49-F238E27FC236}">
                    <a16:creationId xmlns:a16="http://schemas.microsoft.com/office/drawing/2014/main" id="{65768830-ECDA-47F2-A39E-CAC196C1EA76}"/>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93" name="Group 92">
              <a:extLst>
                <a:ext uri="{FF2B5EF4-FFF2-40B4-BE49-F238E27FC236}">
                  <a16:creationId xmlns:a16="http://schemas.microsoft.com/office/drawing/2014/main" id="{514DB936-0B7D-4015-8AFC-535F93E8E264}"/>
                </a:ext>
              </a:extLst>
            </p:cNvPr>
            <p:cNvGrpSpPr/>
            <p:nvPr/>
          </p:nvGrpSpPr>
          <p:grpSpPr>
            <a:xfrm>
              <a:off x="8726544" y="3732889"/>
              <a:ext cx="252049" cy="252050"/>
              <a:chOff x="1445738" y="1894614"/>
              <a:chExt cx="282740" cy="282740"/>
            </a:xfrm>
          </p:grpSpPr>
          <p:sp>
            <p:nvSpPr>
              <p:cNvPr id="94" name="Oval 93">
                <a:extLst>
                  <a:ext uri="{FF2B5EF4-FFF2-40B4-BE49-F238E27FC236}">
                    <a16:creationId xmlns:a16="http://schemas.microsoft.com/office/drawing/2014/main" id="{067CE5DD-07EA-46C5-9E46-A95413B5235E}"/>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95" name="Oval 94">
                <a:extLst>
                  <a:ext uri="{FF2B5EF4-FFF2-40B4-BE49-F238E27FC236}">
                    <a16:creationId xmlns:a16="http://schemas.microsoft.com/office/drawing/2014/main" id="{F60F8BEF-3931-4E53-8AC1-9EF9A84679AC}"/>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04" name="Group 103">
              <a:extLst>
                <a:ext uri="{FF2B5EF4-FFF2-40B4-BE49-F238E27FC236}">
                  <a16:creationId xmlns:a16="http://schemas.microsoft.com/office/drawing/2014/main" id="{EB2D07FE-E5FE-48DB-800F-25418570E124}"/>
                </a:ext>
              </a:extLst>
            </p:cNvPr>
            <p:cNvGrpSpPr/>
            <p:nvPr/>
          </p:nvGrpSpPr>
          <p:grpSpPr>
            <a:xfrm>
              <a:off x="8726544" y="4046312"/>
              <a:ext cx="252049" cy="252050"/>
              <a:chOff x="1445738" y="1894614"/>
              <a:chExt cx="282740" cy="282740"/>
            </a:xfrm>
          </p:grpSpPr>
          <p:sp>
            <p:nvSpPr>
              <p:cNvPr id="105" name="Oval 104">
                <a:extLst>
                  <a:ext uri="{FF2B5EF4-FFF2-40B4-BE49-F238E27FC236}">
                    <a16:creationId xmlns:a16="http://schemas.microsoft.com/office/drawing/2014/main" id="{0B41E000-708E-4675-847D-CE9FADEF1A2A}"/>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06" name="Oval 105">
                <a:extLst>
                  <a:ext uri="{FF2B5EF4-FFF2-40B4-BE49-F238E27FC236}">
                    <a16:creationId xmlns:a16="http://schemas.microsoft.com/office/drawing/2014/main" id="{894E26B7-2DFB-4ED9-A46A-4E46C6863CC8}"/>
                  </a:ext>
                </a:extLst>
              </p:cNvPr>
              <p:cNvSpPr>
                <a:spLocks/>
              </p:cNvSpPr>
              <p:nvPr/>
            </p:nvSpPr>
            <p:spPr>
              <a:xfrm>
                <a:off x="1497108" y="1945984"/>
                <a:ext cx="180000" cy="180000"/>
              </a:xfrm>
              <a:prstGeom prst="ellipse">
                <a:avLst/>
              </a:prstGeom>
              <a:solidFill>
                <a:srgbClr val="CC00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lang="es-ES_tradnl" b="1" dirty="0">
                  <a:solidFill>
                    <a:schemeClr val="bg1"/>
                  </a:solidFill>
                </a:endParaRPr>
              </a:p>
            </p:txBody>
          </p:sp>
        </p:grpSp>
        <p:grpSp>
          <p:nvGrpSpPr>
            <p:cNvPr id="115" name="Group 114">
              <a:extLst>
                <a:ext uri="{FF2B5EF4-FFF2-40B4-BE49-F238E27FC236}">
                  <a16:creationId xmlns:a16="http://schemas.microsoft.com/office/drawing/2014/main" id="{E4C53E18-C4DF-4CF9-B7BC-323B28AD01E7}"/>
                </a:ext>
              </a:extLst>
            </p:cNvPr>
            <p:cNvGrpSpPr/>
            <p:nvPr/>
          </p:nvGrpSpPr>
          <p:grpSpPr>
            <a:xfrm>
              <a:off x="8726544" y="4359734"/>
              <a:ext cx="252049" cy="252050"/>
              <a:chOff x="1445738" y="1894614"/>
              <a:chExt cx="282740" cy="282740"/>
            </a:xfrm>
          </p:grpSpPr>
          <p:sp>
            <p:nvSpPr>
              <p:cNvPr id="116" name="Oval 115">
                <a:extLst>
                  <a:ext uri="{FF2B5EF4-FFF2-40B4-BE49-F238E27FC236}">
                    <a16:creationId xmlns:a16="http://schemas.microsoft.com/office/drawing/2014/main" id="{C8862550-4B66-471C-8E34-9A3E6DEB47C1}"/>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17" name="Oval 116">
                <a:extLst>
                  <a:ext uri="{FF2B5EF4-FFF2-40B4-BE49-F238E27FC236}">
                    <a16:creationId xmlns:a16="http://schemas.microsoft.com/office/drawing/2014/main" id="{05241D34-F841-4054-B184-0F26909740C3}"/>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26" name="Group 125">
              <a:extLst>
                <a:ext uri="{FF2B5EF4-FFF2-40B4-BE49-F238E27FC236}">
                  <a16:creationId xmlns:a16="http://schemas.microsoft.com/office/drawing/2014/main" id="{2C2F458A-4748-4548-81CA-2887C91915BB}"/>
                </a:ext>
              </a:extLst>
            </p:cNvPr>
            <p:cNvGrpSpPr/>
            <p:nvPr/>
          </p:nvGrpSpPr>
          <p:grpSpPr>
            <a:xfrm>
              <a:off x="8726544" y="4673157"/>
              <a:ext cx="252049" cy="252050"/>
              <a:chOff x="1445738" y="1894614"/>
              <a:chExt cx="282740" cy="282740"/>
            </a:xfrm>
          </p:grpSpPr>
          <p:sp>
            <p:nvSpPr>
              <p:cNvPr id="127" name="Oval 126">
                <a:extLst>
                  <a:ext uri="{FF2B5EF4-FFF2-40B4-BE49-F238E27FC236}">
                    <a16:creationId xmlns:a16="http://schemas.microsoft.com/office/drawing/2014/main" id="{B804A776-4758-4BA7-8CE1-A233D56AD050}"/>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28" name="Oval 127">
                <a:extLst>
                  <a:ext uri="{FF2B5EF4-FFF2-40B4-BE49-F238E27FC236}">
                    <a16:creationId xmlns:a16="http://schemas.microsoft.com/office/drawing/2014/main" id="{C0EB16B3-7DA8-4223-BB5B-78C3F6EB9378}"/>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37" name="Group 136">
              <a:extLst>
                <a:ext uri="{FF2B5EF4-FFF2-40B4-BE49-F238E27FC236}">
                  <a16:creationId xmlns:a16="http://schemas.microsoft.com/office/drawing/2014/main" id="{6C24A677-34AE-4AA9-9225-F29FB5F926EA}"/>
                </a:ext>
              </a:extLst>
            </p:cNvPr>
            <p:cNvGrpSpPr/>
            <p:nvPr/>
          </p:nvGrpSpPr>
          <p:grpSpPr>
            <a:xfrm>
              <a:off x="8726544" y="4986579"/>
              <a:ext cx="252049" cy="252050"/>
              <a:chOff x="1445738" y="1894614"/>
              <a:chExt cx="282740" cy="282740"/>
            </a:xfrm>
          </p:grpSpPr>
          <p:sp>
            <p:nvSpPr>
              <p:cNvPr id="138" name="Oval 137">
                <a:extLst>
                  <a:ext uri="{FF2B5EF4-FFF2-40B4-BE49-F238E27FC236}">
                    <a16:creationId xmlns:a16="http://schemas.microsoft.com/office/drawing/2014/main" id="{D1148C3E-69C1-4FC8-8DFB-33FFE0C1B56D}"/>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39" name="Oval 138">
                <a:extLst>
                  <a:ext uri="{FF2B5EF4-FFF2-40B4-BE49-F238E27FC236}">
                    <a16:creationId xmlns:a16="http://schemas.microsoft.com/office/drawing/2014/main" id="{3353EC61-464E-4218-A45A-50D25C20BCED}"/>
                  </a:ext>
                </a:extLst>
              </p:cNvPr>
              <p:cNvSpPr>
                <a:spLocks/>
              </p:cNvSpPr>
              <p:nvPr/>
            </p:nvSpPr>
            <p:spPr>
              <a:xfrm>
                <a:off x="1497108" y="1945984"/>
                <a:ext cx="180000" cy="180000"/>
              </a:xfrm>
              <a:prstGeom prst="ellipse">
                <a:avLst/>
              </a:prstGeom>
              <a:solidFill>
                <a:srgbClr val="FFFF0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48" name="Group 147">
              <a:extLst>
                <a:ext uri="{FF2B5EF4-FFF2-40B4-BE49-F238E27FC236}">
                  <a16:creationId xmlns:a16="http://schemas.microsoft.com/office/drawing/2014/main" id="{29FDC964-93C6-4F20-A59D-D880A57D9E1B}"/>
                </a:ext>
              </a:extLst>
            </p:cNvPr>
            <p:cNvGrpSpPr/>
            <p:nvPr/>
          </p:nvGrpSpPr>
          <p:grpSpPr>
            <a:xfrm>
              <a:off x="8726544" y="5300002"/>
              <a:ext cx="252049" cy="252050"/>
              <a:chOff x="1445738" y="1894614"/>
              <a:chExt cx="282740" cy="282740"/>
            </a:xfrm>
          </p:grpSpPr>
          <p:sp>
            <p:nvSpPr>
              <p:cNvPr id="149" name="Oval 148">
                <a:extLst>
                  <a:ext uri="{FF2B5EF4-FFF2-40B4-BE49-F238E27FC236}">
                    <a16:creationId xmlns:a16="http://schemas.microsoft.com/office/drawing/2014/main" id="{CAAE6672-E104-4D2C-9739-A0C56B50583C}"/>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50" name="Oval 149">
                <a:extLst>
                  <a:ext uri="{FF2B5EF4-FFF2-40B4-BE49-F238E27FC236}">
                    <a16:creationId xmlns:a16="http://schemas.microsoft.com/office/drawing/2014/main" id="{6EB8459A-5835-4387-B9D2-150DAD784923}"/>
                  </a:ext>
                </a:extLst>
              </p:cNvPr>
              <p:cNvSpPr>
                <a:spLocks/>
              </p:cNvSpPr>
              <p:nvPr/>
            </p:nvSpPr>
            <p:spPr>
              <a:xfrm>
                <a:off x="1497108" y="1945984"/>
                <a:ext cx="180000" cy="180000"/>
              </a:xfrm>
              <a:prstGeom prst="ellipse">
                <a:avLst/>
              </a:prstGeom>
              <a:solidFill>
                <a:srgbClr val="00B050"/>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nvGrpSpPr>
            <p:cNvPr id="158" name="Group 157">
              <a:extLst>
                <a:ext uri="{FF2B5EF4-FFF2-40B4-BE49-F238E27FC236}">
                  <a16:creationId xmlns:a16="http://schemas.microsoft.com/office/drawing/2014/main" id="{9E5B879C-74A4-4AC0-BBEC-E075B1F92EDD}"/>
                </a:ext>
              </a:extLst>
            </p:cNvPr>
            <p:cNvGrpSpPr/>
            <p:nvPr/>
          </p:nvGrpSpPr>
          <p:grpSpPr>
            <a:xfrm>
              <a:off x="8726544" y="5613424"/>
              <a:ext cx="252049" cy="252050"/>
              <a:chOff x="1445738" y="1894614"/>
              <a:chExt cx="282740" cy="282740"/>
            </a:xfrm>
          </p:grpSpPr>
          <p:sp>
            <p:nvSpPr>
              <p:cNvPr id="159" name="Oval 158">
                <a:extLst>
                  <a:ext uri="{FF2B5EF4-FFF2-40B4-BE49-F238E27FC236}">
                    <a16:creationId xmlns:a16="http://schemas.microsoft.com/office/drawing/2014/main" id="{C4841FB4-3A88-4714-B7D9-F66178856E1B}"/>
                  </a:ext>
                </a:extLst>
              </p:cNvPr>
              <p:cNvSpPr>
                <a:spLocks/>
              </p:cNvSpPr>
              <p:nvPr/>
            </p:nvSpPr>
            <p:spPr>
              <a:xfrm>
                <a:off x="1445738" y="1894614"/>
                <a:ext cx="282740" cy="2827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ES_tradnl" dirty="0">
                  <a:solidFill>
                    <a:schemeClr val="tx1"/>
                  </a:solidFill>
                </a:endParaRPr>
              </a:p>
            </p:txBody>
          </p:sp>
          <p:sp>
            <p:nvSpPr>
              <p:cNvPr id="160" name="Oval 159">
                <a:extLst>
                  <a:ext uri="{FF2B5EF4-FFF2-40B4-BE49-F238E27FC236}">
                    <a16:creationId xmlns:a16="http://schemas.microsoft.com/office/drawing/2014/main" id="{2DC08D4D-7374-4F5A-95EA-ADDC36DFBE61}"/>
                  </a:ext>
                </a:extLst>
              </p:cNvPr>
              <p:cNvSpPr>
                <a:spLocks/>
              </p:cNvSpPr>
              <p:nvPr/>
            </p:nvSpPr>
            <p:spPr>
              <a:xfrm>
                <a:off x="1497108" y="1945984"/>
                <a:ext cx="180000" cy="180000"/>
              </a:xfrm>
              <a:prstGeom prst="ellipse">
                <a:avLst/>
              </a:prstGeom>
              <a:solidFill>
                <a:srgbClr val="FF9999"/>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s-ES_tradnl" b="1" dirty="0">
                  <a:solidFill>
                    <a:schemeClr val="bg1"/>
                  </a:solidFill>
                </a:endParaRPr>
              </a:p>
            </p:txBody>
          </p:sp>
        </p:grpSp>
      </p:grpSp>
    </p:spTree>
    <p:extLst>
      <p:ext uri="{BB962C8B-B14F-4D97-AF65-F5344CB8AC3E}">
        <p14:creationId xmlns:p14="http://schemas.microsoft.com/office/powerpoint/2010/main" val="1789252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p:cNvGraphicFramePr>
            <a:graphicFrameLocks noChangeAspect="1"/>
          </p:cNvGraphicFramePr>
          <p:nvPr>
            <p:custDataLst>
              <p:tags r:id="rId2"/>
            </p:custDataLst>
            <p:extLst>
              <p:ext uri="{D42A27DB-BD31-4B8C-83A1-F6EECF244321}">
                <p14:modId xmlns:p14="http://schemas.microsoft.com/office/powerpoint/2010/main" val="34354921"/>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35362" name="think-cell Slide" r:id="rId65" imgW="442" imgH="440" progId="TCLayout.ActiveDocument.1">
                  <p:embed/>
                </p:oleObj>
              </mc:Choice>
              <mc:Fallback>
                <p:oleObj name="think-cell Slide" r:id="rId65" imgW="442" imgH="440" progId="TCLayout.ActiveDocument.1">
                  <p:embed/>
                  <p:pic>
                    <p:nvPicPr>
                      <p:cNvPr id="89" name="Object 88" hidden="1"/>
                      <p:cNvPicPr/>
                      <p:nvPr/>
                    </p:nvPicPr>
                    <p:blipFill>
                      <a:blip r:embed="rId66"/>
                      <a:stretch>
                        <a:fillRect/>
                      </a:stretch>
                    </p:blipFill>
                    <p:spPr>
                      <a:xfrm>
                        <a:off x="1495426" y="1589"/>
                        <a:ext cx="1586" cy="1586"/>
                      </a:xfrm>
                      <a:prstGeom prst="rect">
                        <a:avLst/>
                      </a:prstGeom>
                    </p:spPr>
                  </p:pic>
                </p:oleObj>
              </mc:Fallback>
            </mc:AlternateContent>
          </a:graphicData>
        </a:graphic>
      </p:graphicFrame>
      <p:sp>
        <p:nvSpPr>
          <p:cNvPr id="88" name="Rectangle 87"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solidFill>
                <a:schemeClr val="tx1"/>
              </a:solidFill>
              <a:latin typeface="Arial" panose="020B0604020202020204" pitchFamily="34" charset="0"/>
              <a:sym typeface="Arial" panose="020B0604020202020204" pitchFamily="34" charset="0"/>
            </a:endParaRPr>
          </a:p>
        </p:txBody>
      </p:sp>
      <p:grpSp>
        <p:nvGrpSpPr>
          <p:cNvPr id="7" name="Group 6"/>
          <p:cNvGrpSpPr>
            <a:grpSpLocks/>
          </p:cNvGrpSpPr>
          <p:nvPr/>
        </p:nvGrpSpPr>
        <p:grpSpPr>
          <a:xfrm>
            <a:off x="6749497" y="1439865"/>
            <a:ext cx="4904023" cy="4503735"/>
            <a:chOff x="-4393543" y="0"/>
            <a:chExt cx="6993812" cy="6721475"/>
          </a:xfrm>
        </p:grpSpPr>
        <p:pic>
          <p:nvPicPr>
            <p:cNvPr id="6" name="Picture 5"/>
            <p:cNvPicPr>
              <a:picLocks/>
            </p:cNvPicPr>
            <p:nvPr/>
          </p:nvPicPr>
          <p:blipFill>
            <a:blip r:embed="rId67" cstate="email">
              <a:extLst>
                <a:ext uri="{BEBA8EAE-BF5A-486C-A8C5-ECC9F3942E4B}">
                  <a14:imgProps xmlns:a14="http://schemas.microsoft.com/office/drawing/2010/main">
                    <a14:imgLayer r:embed="rId68">
                      <a14:imgEffect>
                        <a14:saturation sat="0"/>
                      </a14:imgEffect>
                    </a14:imgLayer>
                  </a14:imgProps>
                </a:ext>
                <a:ext uri="{28A0092B-C50C-407E-A947-70E740481C1C}">
                  <a14:useLocalDpi xmlns:a14="http://schemas.microsoft.com/office/drawing/2010/main"/>
                </a:ext>
              </a:extLst>
            </a:blip>
            <a:stretch>
              <a:fillRect/>
            </a:stretch>
          </p:blipFill>
          <p:spPr>
            <a:xfrm>
              <a:off x="-4393543" y="0"/>
              <a:ext cx="6993812" cy="6721475"/>
            </a:xfrm>
            <a:prstGeom prst="rect">
              <a:avLst/>
            </a:prstGeom>
          </p:spPr>
        </p:pic>
        <p:sp>
          <p:nvSpPr>
            <p:cNvPr id="109" name="Rectangle 108"/>
            <p:cNvSpPr>
              <a:spLocks/>
            </p:cNvSpPr>
            <p:nvPr/>
          </p:nvSpPr>
          <p:spPr>
            <a:xfrm>
              <a:off x="-4393543" y="0"/>
              <a:ext cx="3452590" cy="6721475"/>
            </a:xfrm>
            <a:prstGeom prst="rect">
              <a:avLst/>
            </a:prstGeom>
            <a:gradFill>
              <a:gsLst>
                <a:gs pos="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dirty="0">
                <a:solidFill>
                  <a:schemeClr val="tx1"/>
                </a:solidFill>
              </a:endParaRPr>
            </a:p>
          </p:txBody>
        </p:sp>
      </p:grpSp>
      <p:sp>
        <p:nvSpPr>
          <p:cNvPr id="102" name="Rectangle 2"/>
          <p:cNvSpPr>
            <a:spLocks noChangeArrowheads="1"/>
          </p:cNvSpPr>
          <p:nvPr/>
        </p:nvSpPr>
        <p:spPr bwMode="gray">
          <a:xfrm>
            <a:off x="695956" y="1439865"/>
            <a:ext cx="10957564" cy="4503735"/>
          </a:xfrm>
          <a:prstGeom prst="rect">
            <a:avLst/>
          </a:prstGeom>
          <a:gradFill>
            <a:gsLst>
              <a:gs pos="0">
                <a:schemeClr val="bg1"/>
              </a:gs>
              <a:gs pos="100000">
                <a:schemeClr val="bg1">
                  <a:alpha val="71000"/>
                </a:schemeClr>
              </a:gs>
            </a:gsLst>
            <a:lin ang="0" scaled="0"/>
          </a:gradFill>
          <a:ln w="9525" algn="ctr">
            <a:solidFill>
              <a:schemeClr val="accent6">
                <a:lumMod val="40000"/>
                <a:lumOff val="60000"/>
              </a:schemeClr>
            </a:solidFill>
            <a:miter lim="800000"/>
            <a:headEnd/>
            <a:tailEnd/>
          </a:ln>
          <a:effectLst>
            <a:outerShdw dist="53340" dir="2700000" algn="tl" rotWithShape="0">
              <a:schemeClr val="tx1">
                <a:alpha val="5000"/>
              </a:schemeClr>
            </a:outerShdw>
          </a:effectLst>
        </p:spPr>
        <p:txBody>
          <a:bodyPr vert="horz" wrap="square" lIns="91440" tIns="45719" rIns="91440" bIns="45719" numCol="1" anchor="t" anchorCtr="0" compatLnSpc="1">
            <a:prstTxWarp prst="textNoShape">
              <a:avLst/>
            </a:prstTxWarp>
          </a:bodyPr>
          <a:lstStyle/>
          <a:p>
            <a:endParaRPr lang="es-ES_tradnl" dirty="0"/>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1354824460"/>
              </p:ext>
            </p:extLst>
          </p:nvPr>
        </p:nvGraphicFramePr>
        <p:xfrm>
          <a:off x="838200" y="2133600"/>
          <a:ext cx="5014128" cy="2811780"/>
        </p:xfrm>
        <a:graphic>
          <a:graphicData uri="http://schemas.openxmlformats.org/presentationml/2006/ole">
            <mc:AlternateContent xmlns:mc="http://schemas.openxmlformats.org/markup-compatibility/2006">
              <mc:Choice xmlns:v="urn:schemas-microsoft-com:vml" Requires="v">
                <p:oleObj spid="_x0000_s135363" name="Chart" r:id="rId69" imgW="5014128" imgH="2811780" progId="MSGraph.Chart.8">
                  <p:embed followColorScheme="full"/>
                </p:oleObj>
              </mc:Choice>
              <mc:Fallback>
                <p:oleObj name="Chart" r:id="rId69" imgW="5014128" imgH="2811780" progId="MSGraph.Chart.8">
                  <p:embed followColorScheme="full"/>
                  <p:pic>
                    <p:nvPicPr>
                      <p:cNvPr id="9" name="Object 8"/>
                      <p:cNvPicPr/>
                      <p:nvPr/>
                    </p:nvPicPr>
                    <p:blipFill>
                      <a:blip r:embed="rId70"/>
                      <a:stretch>
                        <a:fillRect/>
                      </a:stretch>
                    </p:blipFill>
                    <p:spPr>
                      <a:xfrm>
                        <a:off x="838200" y="2133600"/>
                        <a:ext cx="5014128" cy="2811780"/>
                      </a:xfrm>
                      <a:prstGeom prst="rect">
                        <a:avLst/>
                      </a:prstGeom>
                    </p:spPr>
                  </p:pic>
                </p:oleObj>
              </mc:Fallback>
            </mc:AlternateContent>
          </a:graphicData>
        </a:graphic>
      </p:graphicFrame>
      <p:sp>
        <p:nvSpPr>
          <p:cNvPr id="80" name="Text Placeholder 71"/>
          <p:cNvSpPr>
            <a:spLocks noGrp="1"/>
          </p:cNvSpPr>
          <p:nvPr>
            <p:custDataLst>
              <p:tags r:id="rId5"/>
            </p:custDataLst>
          </p:nvPr>
        </p:nvSpPr>
        <p:spPr bwMode="auto">
          <a:xfrm flipV="1">
            <a:off x="2751138"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D58E6D9-464C-46C0-BC43-73F1038F9FB2}" type="datetime'''''Co''''m''''p''añí''''''a'''''''''' ''''''''''6'''''''''">
              <a:rPr lang="es-ES_tradnl" altLang="en-US" sz="1200"/>
              <a:pPr/>
              <a:t>Compañía 6</a:t>
            </a:fld>
            <a:endParaRPr lang="es-ES_tradnl" sz="1200" dirty="0">
              <a:latin typeface="Arial" panose="020B0604020202020204" pitchFamily="34" charset="0"/>
              <a:sym typeface="Arial" panose="020B0604020202020204" pitchFamily="34" charset="0"/>
            </a:endParaRPr>
          </a:p>
        </p:txBody>
      </p:sp>
      <p:sp>
        <p:nvSpPr>
          <p:cNvPr id="79" name="Text Placeholder 2"/>
          <p:cNvSpPr>
            <a:spLocks noGrp="1"/>
          </p:cNvSpPr>
          <p:nvPr>
            <p:custDataLst>
              <p:tags r:id="rId6"/>
            </p:custDataLst>
          </p:nvPr>
        </p:nvSpPr>
        <p:spPr bwMode="gray">
          <a:xfrm>
            <a:off x="3324225" y="3006725"/>
            <a:ext cx="4064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7C03457-B0D1-47A6-A83C-9D7B4A9D9B66}" type="datetime'''''''''''''''1''''''''''''''''''''''1''''2.''''0'''''''">
              <a:rPr lang="es-CO" altLang="en-US" sz="1200">
                <a:sym typeface="+mn-lt"/>
              </a:rPr>
              <a:pPr algn="ctr"/>
              <a:t>112.0</a:t>
            </a:fld>
            <a:endParaRPr lang="es-CO" sz="1200" dirty="0">
              <a:sym typeface="+mn-lt"/>
            </a:endParaRPr>
          </a:p>
        </p:txBody>
      </p:sp>
      <p:sp>
        <p:nvSpPr>
          <p:cNvPr id="150" name="Text Placeholder 2"/>
          <p:cNvSpPr>
            <a:spLocks noGrp="1"/>
          </p:cNvSpPr>
          <p:nvPr>
            <p:custDataLst>
              <p:tags r:id="rId7"/>
            </p:custDataLst>
          </p:nvPr>
        </p:nvSpPr>
        <p:spPr bwMode="gray">
          <a:xfrm flipV="1">
            <a:off x="2408238" y="2886075"/>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E955235-9B6A-4210-BFA6-437660B20F78}" type="datetime'''''''1''''''''0''''''''''''''''''''''''4''''.''0'">
              <a:rPr lang="es-ES_tradnl" altLang="en-US" sz="1200"/>
              <a:pPr/>
              <a:t>104.0</a:t>
            </a:fld>
            <a:endParaRPr lang="es-ES_tradnl" sz="1200" dirty="0">
              <a:sym typeface="+mn-lt"/>
            </a:endParaRPr>
          </a:p>
        </p:txBody>
      </p:sp>
      <p:sp>
        <p:nvSpPr>
          <p:cNvPr id="85" name="Text Placeholder 63"/>
          <p:cNvSpPr>
            <a:spLocks noGrp="1"/>
          </p:cNvSpPr>
          <p:nvPr>
            <p:custDataLst>
              <p:tags r:id="rId8"/>
            </p:custDataLst>
          </p:nvPr>
        </p:nvSpPr>
        <p:spPr bwMode="auto">
          <a:xfrm flipV="1">
            <a:off x="173037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E254334-18A8-4795-807A-2FF20B8BC319}" type="datetime'''C''''''omp''a''''''''ñí''''a'''''' ''''''''''3'''''">
              <a:rPr lang="es-ES_tradnl" altLang="en-US" sz="1200"/>
              <a:pPr/>
              <a:t>Compañía 3</a:t>
            </a:fld>
            <a:endParaRPr lang="es-ES_tradnl" sz="1200" dirty="0">
              <a:sym typeface="+mn-lt"/>
            </a:endParaRPr>
          </a:p>
        </p:txBody>
      </p:sp>
      <p:sp>
        <p:nvSpPr>
          <p:cNvPr id="147" name="Text Placeholder 2"/>
          <p:cNvSpPr>
            <a:spLocks noGrp="1"/>
          </p:cNvSpPr>
          <p:nvPr>
            <p:custDataLst>
              <p:tags r:id="rId9"/>
            </p:custDataLst>
          </p:nvPr>
        </p:nvSpPr>
        <p:spPr bwMode="gray">
          <a:xfrm flipV="1">
            <a:off x="1387475" y="3038475"/>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236394A-E65F-4938-9BF4-A4C4D551849C}" type="datetime'''''''9''''''''''''''''9''''.''''''''''''''''''''''5'">
              <a:rPr lang="es-ES_tradnl" altLang="en-US" sz="1200"/>
              <a:pPr/>
              <a:t>99.5</a:t>
            </a:fld>
            <a:endParaRPr lang="es-ES_tradnl" sz="1200" dirty="0">
              <a:sym typeface="+mn-lt"/>
            </a:endParaRPr>
          </a:p>
        </p:txBody>
      </p:sp>
      <p:sp>
        <p:nvSpPr>
          <p:cNvPr id="151" name="Text Placeholder 2"/>
          <p:cNvSpPr>
            <a:spLocks noGrp="1"/>
          </p:cNvSpPr>
          <p:nvPr>
            <p:custDataLst>
              <p:tags r:id="rId10"/>
            </p:custDataLst>
          </p:nvPr>
        </p:nvSpPr>
        <p:spPr bwMode="gray">
          <a:xfrm flipV="1">
            <a:off x="2751138" y="284003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D0878FC-0B6A-48D6-9A01-445D22C4528B}" type="datetime'''''''''''''''''''''''''''''1''''0''7''''.''''''''''''1'''''">
              <a:rPr lang="es-ES_tradnl" altLang="en-US" sz="1200"/>
              <a:pPr/>
              <a:t>107.1</a:t>
            </a:fld>
            <a:endParaRPr lang="es-ES_tradnl" sz="1200" dirty="0">
              <a:sym typeface="+mn-lt"/>
            </a:endParaRPr>
          </a:p>
        </p:txBody>
      </p:sp>
      <p:sp>
        <p:nvSpPr>
          <p:cNvPr id="59" name="Text Placeholder 70"/>
          <p:cNvSpPr>
            <a:spLocks noGrp="1"/>
          </p:cNvSpPr>
          <p:nvPr>
            <p:custDataLst>
              <p:tags r:id="rId11"/>
            </p:custDataLst>
          </p:nvPr>
        </p:nvSpPr>
        <p:spPr bwMode="auto">
          <a:xfrm flipV="1">
            <a:off x="2408238"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B1EC0C4-AFB1-41A7-8969-53004F2BD056}" type="datetime'''C''''''''''''''om''''''pañ''í''''a 5'''">
              <a:rPr lang="es-ES_tradnl" altLang="en-US" sz="1200"/>
              <a:pPr/>
              <a:t>Compañía 5</a:t>
            </a:fld>
            <a:endParaRPr lang="es-ES_tradnl" sz="1200" dirty="0">
              <a:latin typeface="Arial" panose="020B0604020202020204" pitchFamily="34" charset="0"/>
              <a:sym typeface="Arial" panose="020B0604020202020204" pitchFamily="34" charset="0"/>
            </a:endParaRPr>
          </a:p>
        </p:txBody>
      </p:sp>
      <p:sp>
        <p:nvSpPr>
          <p:cNvPr id="20" name="Text Placeholder 100"/>
          <p:cNvSpPr>
            <a:spLocks noGrp="1"/>
          </p:cNvSpPr>
          <p:nvPr>
            <p:custDataLst>
              <p:tags r:id="rId12"/>
            </p:custDataLst>
          </p:nvPr>
        </p:nvSpPr>
        <p:spPr bwMode="auto">
          <a:xfrm flipV="1">
            <a:off x="104457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ltLang="en-US" sz="1200" dirty="0"/>
              <a:t>Compañía 1</a:t>
            </a:r>
            <a:endParaRPr lang="es-ES_tradnl" sz="1200" dirty="0">
              <a:latin typeface="Arial" panose="020B0604020202020204" pitchFamily="34" charset="0"/>
              <a:sym typeface="Arial" panose="020B0604020202020204" pitchFamily="34" charset="0"/>
            </a:endParaRPr>
          </a:p>
        </p:txBody>
      </p:sp>
      <p:sp>
        <p:nvSpPr>
          <p:cNvPr id="86" name="Text Placeholder 62"/>
          <p:cNvSpPr>
            <a:spLocks noGrp="1"/>
          </p:cNvSpPr>
          <p:nvPr>
            <p:custDataLst>
              <p:tags r:id="rId13"/>
            </p:custDataLst>
          </p:nvPr>
        </p:nvSpPr>
        <p:spPr bwMode="auto">
          <a:xfrm flipV="1">
            <a:off x="138747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ECD8ACB-B513-48C9-B23D-451405326CB6}" type="datetime'''C''o''m''''''''p''''''a''ñí''a ''''''''''''2'''''''">
              <a:rPr lang="es-ES_tradnl" altLang="en-US" sz="1200"/>
              <a:pPr/>
              <a:t>Compañía 2</a:t>
            </a:fld>
            <a:endParaRPr lang="es-ES_tradnl" sz="1200" dirty="0">
              <a:sym typeface="+mn-lt"/>
            </a:endParaRPr>
          </a:p>
        </p:txBody>
      </p:sp>
      <p:sp>
        <p:nvSpPr>
          <p:cNvPr id="152" name="Text Placeholder 2"/>
          <p:cNvSpPr>
            <a:spLocks noGrp="1"/>
          </p:cNvSpPr>
          <p:nvPr>
            <p:custDataLst>
              <p:tags r:id="rId14"/>
            </p:custDataLst>
          </p:nvPr>
        </p:nvSpPr>
        <p:spPr bwMode="gray">
          <a:xfrm flipV="1">
            <a:off x="3094038" y="2813050"/>
            <a:ext cx="182563"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1F71A47-E0F7-4E8D-82E9-9D708AE934D5}" type="datetime'''''''''''''1''''''''''''''''''10''''''''''.''0'''''''">
              <a:rPr lang="es-ES_tradnl" altLang="en-US" sz="1200"/>
              <a:pPr/>
              <a:t>110.0</a:t>
            </a:fld>
            <a:endParaRPr lang="es-ES_tradnl" sz="1200" dirty="0">
              <a:sym typeface="+mn-lt"/>
            </a:endParaRPr>
          </a:p>
        </p:txBody>
      </p:sp>
      <p:sp>
        <p:nvSpPr>
          <p:cNvPr id="148" name="Text Placeholder 2"/>
          <p:cNvSpPr>
            <a:spLocks noGrp="1"/>
          </p:cNvSpPr>
          <p:nvPr>
            <p:custDataLst>
              <p:tags r:id="rId15"/>
            </p:custDataLst>
          </p:nvPr>
        </p:nvSpPr>
        <p:spPr bwMode="gray">
          <a:xfrm flipV="1">
            <a:off x="1730375" y="29479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B7A4FE6-80FC-41CF-8FD0-A96600153E51}" type="datetime'''''''''''''''''''1''''''''''00''''''''''''''.''0'''''''''''">
              <a:rPr lang="es-ES_tradnl" altLang="en-US" sz="1200"/>
              <a:pPr/>
              <a:t>100.0</a:t>
            </a:fld>
            <a:endParaRPr lang="es-ES_tradnl" sz="1200" dirty="0">
              <a:sym typeface="+mn-lt"/>
            </a:endParaRPr>
          </a:p>
        </p:txBody>
      </p:sp>
      <p:sp>
        <p:nvSpPr>
          <p:cNvPr id="64" name="Text Placeholder 16"/>
          <p:cNvSpPr>
            <a:spLocks noGrp="1"/>
          </p:cNvSpPr>
          <p:nvPr>
            <p:custDataLst>
              <p:tags r:id="rId16"/>
            </p:custDataLst>
          </p:nvPr>
        </p:nvSpPr>
        <p:spPr bwMode="auto">
          <a:xfrm flipV="1">
            <a:off x="3094038"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253C8C9-9D6D-40C5-AB1F-E4D1CED72BD4}" type="datetime'''C''''o''''''''''mp''añí''''''''''a'''' ''''''''''''''''''7'">
              <a:rPr lang="es-ES_tradnl" altLang="en-US" sz="1200"/>
              <a:pPr/>
              <a:t>Compañía 7</a:t>
            </a:fld>
            <a:endParaRPr lang="es-ES_tradnl" sz="1200" dirty="0">
              <a:latin typeface="Arial" panose="020B0604020202020204" pitchFamily="34" charset="0"/>
              <a:sym typeface="Arial" panose="020B0604020202020204" pitchFamily="34" charset="0"/>
            </a:endParaRPr>
          </a:p>
        </p:txBody>
      </p:sp>
      <p:sp>
        <p:nvSpPr>
          <p:cNvPr id="87" name="Text Placeholder 156"/>
          <p:cNvSpPr>
            <a:spLocks noGrp="1"/>
          </p:cNvSpPr>
          <p:nvPr>
            <p:custDataLst>
              <p:tags r:id="rId17"/>
            </p:custDataLst>
          </p:nvPr>
        </p:nvSpPr>
        <p:spPr bwMode="auto">
          <a:xfrm flipV="1">
            <a:off x="2068513"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162E8EB-9A5B-44AC-BD6D-03FBF1DE552F}" type="datetime'''C''''''o''m''p''''''''''''''''''''''''''a''''''ñ''ía'' ''4'">
              <a:rPr lang="es-ES_tradnl" altLang="en-US" sz="1200"/>
              <a:pPr/>
              <a:t>Compañía 4</a:t>
            </a:fld>
            <a:endParaRPr lang="es-ES_tradnl" sz="1200" dirty="0">
              <a:latin typeface="Arial" panose="020B0604020202020204" pitchFamily="34" charset="0"/>
              <a:sym typeface="Arial" panose="020B0604020202020204" pitchFamily="34" charset="0"/>
            </a:endParaRPr>
          </a:p>
        </p:txBody>
      </p:sp>
      <p:sp>
        <p:nvSpPr>
          <p:cNvPr id="146" name="Text Placeholder 2"/>
          <p:cNvSpPr>
            <a:spLocks noGrp="1"/>
          </p:cNvSpPr>
          <p:nvPr>
            <p:custDataLst>
              <p:tags r:id="rId18"/>
            </p:custDataLst>
          </p:nvPr>
        </p:nvSpPr>
        <p:spPr bwMode="gray">
          <a:xfrm flipV="1">
            <a:off x="1044575" y="3076575"/>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A8D3232-B802-429C-AA1B-75CAA75B957A}" type="datetime'''''''9''''''''''''''''''''6''.''''8'''''''''''''''''''">
              <a:rPr lang="es-ES_tradnl" altLang="en-US" sz="1200"/>
              <a:pPr/>
              <a:t>96.8</a:t>
            </a:fld>
            <a:endParaRPr lang="es-ES_tradnl" sz="1200" dirty="0">
              <a:sym typeface="+mn-lt"/>
            </a:endParaRPr>
          </a:p>
        </p:txBody>
      </p:sp>
      <p:sp>
        <p:nvSpPr>
          <p:cNvPr id="149" name="Text Placeholder 2"/>
          <p:cNvSpPr>
            <a:spLocks noGrp="1"/>
          </p:cNvSpPr>
          <p:nvPr>
            <p:custDataLst>
              <p:tags r:id="rId19"/>
            </p:custDataLst>
          </p:nvPr>
        </p:nvSpPr>
        <p:spPr bwMode="gray">
          <a:xfrm flipV="1">
            <a:off x="2068513" y="2940050"/>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CA255BA-B1F6-47E1-8404-1A87EB81CB71}" type="datetime'1''''''''''''''0''''''''''0''''''.''5'''''''''''''''">
              <a:rPr lang="es-ES_tradnl" altLang="en-US" sz="1200"/>
              <a:pPr/>
              <a:t>100.5</a:t>
            </a:fld>
            <a:endParaRPr lang="es-ES_tradnl" sz="1200" dirty="0">
              <a:sym typeface="+mn-lt"/>
            </a:endParaRPr>
          </a:p>
        </p:txBody>
      </p:sp>
      <p:sp>
        <p:nvSpPr>
          <p:cNvPr id="75" name="Text Placeholder 11"/>
          <p:cNvSpPr>
            <a:spLocks noGrp="1"/>
          </p:cNvSpPr>
          <p:nvPr>
            <p:custDataLst>
              <p:tags r:id="rId20"/>
            </p:custDataLst>
          </p:nvPr>
        </p:nvSpPr>
        <p:spPr bwMode="auto">
          <a:xfrm flipV="1">
            <a:off x="5486400"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1A2C584-1697-4A48-B39B-FA8284F2426D}" type="datetime'''''''''''C''''om''''''''''''''p''''a''ñí''a'''''' ''1''''''4'">
              <a:rPr lang="es-ES_tradnl" altLang="en-US" sz="1200"/>
              <a:pPr/>
              <a:t>Compañía 14</a:t>
            </a:fld>
            <a:endParaRPr lang="es-ES_tradnl" sz="1200" dirty="0">
              <a:latin typeface="Arial" panose="020B0604020202020204" pitchFamily="34" charset="0"/>
              <a:sym typeface="Arial" panose="020B0604020202020204" pitchFamily="34" charset="0"/>
            </a:endParaRPr>
          </a:p>
        </p:txBody>
      </p:sp>
      <p:sp>
        <p:nvSpPr>
          <p:cNvPr id="157" name="Text Placeholder 2"/>
          <p:cNvSpPr>
            <a:spLocks noGrp="1"/>
          </p:cNvSpPr>
          <p:nvPr>
            <p:custDataLst>
              <p:tags r:id="rId21"/>
            </p:custDataLst>
          </p:nvPr>
        </p:nvSpPr>
        <p:spPr bwMode="gray">
          <a:xfrm flipV="1">
            <a:off x="5143500" y="1835154"/>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0CEBB0D-E14E-419B-93FF-2A8CADB06386}" type="datetime'''''''1''''''''7''''''''''''''''''''''''''5''''''''.9'''''''">
              <a:rPr lang="es-ES_tradnl" altLang="en-US" sz="1200"/>
              <a:pPr/>
              <a:t>175.9</a:t>
            </a:fld>
            <a:endParaRPr lang="es-ES_tradnl" sz="1200" dirty="0">
              <a:sym typeface="+mn-lt"/>
            </a:endParaRPr>
          </a:p>
        </p:txBody>
      </p:sp>
      <p:sp>
        <p:nvSpPr>
          <p:cNvPr id="155" name="Text Placeholder 2"/>
          <p:cNvSpPr>
            <a:spLocks noGrp="1"/>
          </p:cNvSpPr>
          <p:nvPr>
            <p:custDataLst>
              <p:tags r:id="rId22"/>
            </p:custDataLst>
          </p:nvPr>
        </p:nvSpPr>
        <p:spPr bwMode="gray">
          <a:xfrm flipV="1">
            <a:off x="4460875" y="2482850"/>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A519656-54C7-4EA5-B55E-B9E5B51F81EA}" type="datetime'''''''''''''1''''''''3''1''''''''.''''''''''''''7'''''''''">
              <a:rPr lang="es-ES_tradnl" altLang="en-US" sz="1200"/>
              <a:pPr/>
              <a:t>131.7</a:t>
            </a:fld>
            <a:endParaRPr lang="es-ES_tradnl" sz="1200" dirty="0">
              <a:sym typeface="+mn-lt"/>
            </a:endParaRPr>
          </a:p>
        </p:txBody>
      </p:sp>
      <p:sp>
        <p:nvSpPr>
          <p:cNvPr id="74" name="Text Placeholder 73"/>
          <p:cNvSpPr>
            <a:spLocks noGrp="1"/>
          </p:cNvSpPr>
          <p:nvPr>
            <p:custDataLst>
              <p:tags r:id="rId23"/>
            </p:custDataLst>
          </p:nvPr>
        </p:nvSpPr>
        <p:spPr bwMode="auto">
          <a:xfrm flipV="1">
            <a:off x="4122738"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E8CD64C-D1A5-4904-901F-0BBAAFA15F7B}" type="datetime'''''C''''''''''''o''''''mp''añí''''a'' ''''''1''''''''0'''''">
              <a:rPr lang="es-ES_tradnl" altLang="en-US" sz="1200"/>
              <a:pPr/>
              <a:t>Compañía 10</a:t>
            </a:fld>
            <a:endParaRPr lang="es-ES_tradnl" sz="1200" dirty="0">
              <a:latin typeface="Arial" panose="020B0604020202020204" pitchFamily="34" charset="0"/>
              <a:sym typeface="Arial" panose="020B0604020202020204" pitchFamily="34" charset="0"/>
            </a:endParaRPr>
          </a:p>
        </p:txBody>
      </p:sp>
      <p:sp>
        <p:nvSpPr>
          <p:cNvPr id="154" name="Text Placeholder 2"/>
          <p:cNvSpPr>
            <a:spLocks noGrp="1"/>
          </p:cNvSpPr>
          <p:nvPr>
            <p:custDataLst>
              <p:tags r:id="rId24"/>
            </p:custDataLst>
          </p:nvPr>
        </p:nvSpPr>
        <p:spPr bwMode="gray">
          <a:xfrm flipV="1">
            <a:off x="4122738" y="24907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63D05CA-F945-4BD0-A950-52DFD1A8ED33}" type="datetime'''''''''''''''''''13''''1''''''''.''''''''''''''2'''''''''''">
              <a:rPr lang="es-ES_tradnl" altLang="en-US" sz="1200"/>
              <a:pPr/>
              <a:t>131.2</a:t>
            </a:fld>
            <a:endParaRPr lang="es-ES_tradnl" sz="1200" dirty="0">
              <a:sym typeface="+mn-lt"/>
            </a:endParaRPr>
          </a:p>
        </p:txBody>
      </p:sp>
      <p:sp>
        <p:nvSpPr>
          <p:cNvPr id="81" name="Text Placeholder 72"/>
          <p:cNvSpPr>
            <a:spLocks noGrp="1"/>
          </p:cNvSpPr>
          <p:nvPr>
            <p:custDataLst>
              <p:tags r:id="rId25"/>
            </p:custDataLst>
          </p:nvPr>
        </p:nvSpPr>
        <p:spPr bwMode="auto">
          <a:xfrm flipV="1">
            <a:off x="3779838"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D89DB42-54FC-45ED-BBB9-A9D555DD06C1}" type="datetime'''C''''o''m''''''''''''pa''''''''ñ''í''a'' ''''9'''">
              <a:rPr lang="es-ES_tradnl" altLang="en-US" sz="1200"/>
              <a:pPr/>
              <a:t>Compañía 9</a:t>
            </a:fld>
            <a:endParaRPr lang="es-ES_tradnl" sz="1200" dirty="0">
              <a:latin typeface="Arial" panose="020B0604020202020204" pitchFamily="34" charset="0"/>
              <a:sym typeface="Arial" panose="020B0604020202020204" pitchFamily="34" charset="0"/>
            </a:endParaRPr>
          </a:p>
        </p:txBody>
      </p:sp>
      <p:sp>
        <p:nvSpPr>
          <p:cNvPr id="153" name="Text Placeholder 2"/>
          <p:cNvSpPr>
            <a:spLocks noGrp="1"/>
          </p:cNvSpPr>
          <p:nvPr>
            <p:custDataLst>
              <p:tags r:id="rId26"/>
            </p:custDataLst>
          </p:nvPr>
        </p:nvSpPr>
        <p:spPr bwMode="gray">
          <a:xfrm flipV="1">
            <a:off x="3779838" y="2635250"/>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CE0951F-9741-4A47-9012-FFFED0792184}" type="datetime'''''''''''''12''''''''''''''''''''''''''''''''''''1.5'''''''">
              <a:rPr lang="es-ES_tradnl" altLang="en-US" sz="1200"/>
              <a:pPr/>
              <a:t>121.5</a:t>
            </a:fld>
            <a:endParaRPr lang="es-ES_tradnl" sz="1200" dirty="0">
              <a:sym typeface="+mn-lt"/>
            </a:endParaRPr>
          </a:p>
        </p:txBody>
      </p:sp>
      <p:sp>
        <p:nvSpPr>
          <p:cNvPr id="78" name="Text Placeholder 16"/>
          <p:cNvSpPr>
            <a:spLocks noGrp="1"/>
          </p:cNvSpPr>
          <p:nvPr>
            <p:custDataLst>
              <p:tags r:id="rId27"/>
            </p:custDataLst>
          </p:nvPr>
        </p:nvSpPr>
        <p:spPr bwMode="auto">
          <a:xfrm flipV="1">
            <a:off x="3436938"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D6C649B-76B5-4414-AB36-FAF9C0E51FCB}" type="datetime'''Co''''m''''''p''a''''ñ''ía'''''''' ''''''8'''">
              <a:rPr lang="es-ES_tradnl" altLang="en-US" sz="1200"/>
              <a:pPr/>
              <a:t>Compañía 8</a:t>
            </a:fld>
            <a:endParaRPr lang="es-ES_tradnl" sz="1200" dirty="0">
              <a:latin typeface="Arial" panose="020B0604020202020204" pitchFamily="34" charset="0"/>
              <a:sym typeface="Arial" panose="020B0604020202020204" pitchFamily="34" charset="0"/>
            </a:endParaRPr>
          </a:p>
        </p:txBody>
      </p:sp>
      <p:sp>
        <p:nvSpPr>
          <p:cNvPr id="61" name="Text Placeholder 74"/>
          <p:cNvSpPr>
            <a:spLocks noGrp="1"/>
          </p:cNvSpPr>
          <p:nvPr>
            <p:custDataLst>
              <p:tags r:id="rId28"/>
            </p:custDataLst>
          </p:nvPr>
        </p:nvSpPr>
        <p:spPr bwMode="auto">
          <a:xfrm flipV="1">
            <a:off x="4460875" y="4953000"/>
            <a:ext cx="182563" cy="9001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E6BF65D-32FB-4F89-AD02-2EEF2F435B84}" type="datetime'''''C''o''''''''''mpa''''''ñ''''''''ía'' 11'''''''''''">
              <a:rPr lang="es-ES_tradnl" altLang="en-US" sz="1200"/>
              <a:pPr/>
              <a:t>Compañía 11</a:t>
            </a:fld>
            <a:endParaRPr lang="es-ES_tradnl" sz="1200" dirty="0">
              <a:latin typeface="Arial" panose="020B0604020202020204" pitchFamily="34" charset="0"/>
              <a:sym typeface="Arial" panose="020B0604020202020204" pitchFamily="34" charset="0"/>
            </a:endParaRPr>
          </a:p>
        </p:txBody>
      </p:sp>
      <p:sp>
        <p:nvSpPr>
          <p:cNvPr id="82" name="Text Placeholder 75"/>
          <p:cNvSpPr>
            <a:spLocks noGrp="1"/>
          </p:cNvSpPr>
          <p:nvPr>
            <p:custDataLst>
              <p:tags r:id="rId29"/>
            </p:custDataLst>
          </p:nvPr>
        </p:nvSpPr>
        <p:spPr bwMode="auto">
          <a:xfrm flipV="1">
            <a:off x="5143500"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1F596A3-1335-4945-8EC1-F313F87E4784}" type="datetime'''''C''o''''''''mp''a''''''''''''''''''''''ñ''''í''''a'' ''13'">
              <a:rPr lang="es-ES_tradnl" altLang="en-US" sz="1200"/>
              <a:pPr/>
              <a:t>Compañía 13</a:t>
            </a:fld>
            <a:endParaRPr lang="es-ES_tradnl" sz="1200" dirty="0">
              <a:latin typeface="Arial" panose="020B0604020202020204" pitchFamily="34" charset="0"/>
              <a:sym typeface="Arial" panose="020B0604020202020204" pitchFamily="34" charset="0"/>
            </a:endParaRPr>
          </a:p>
        </p:txBody>
      </p:sp>
      <p:sp>
        <p:nvSpPr>
          <p:cNvPr id="70" name="Text Placeholder 75"/>
          <p:cNvSpPr>
            <a:spLocks noGrp="1"/>
          </p:cNvSpPr>
          <p:nvPr>
            <p:custDataLst>
              <p:tags r:id="rId30"/>
            </p:custDataLst>
          </p:nvPr>
        </p:nvSpPr>
        <p:spPr bwMode="auto">
          <a:xfrm flipV="1">
            <a:off x="4800600"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50ECF12-E498-409D-85FD-64121EA7D786}" type="datetime'''''C''o''m''''p''''''a''''''''''ñ''''í''''a'''''''''' 1''2'''">
              <a:rPr lang="es-ES_tradnl" altLang="en-US" sz="1200"/>
              <a:pPr/>
              <a:t>Compañía 12</a:t>
            </a:fld>
            <a:endParaRPr lang="es-ES_tradnl" sz="1200" dirty="0">
              <a:latin typeface="Arial" panose="020B0604020202020204" pitchFamily="34" charset="0"/>
              <a:sym typeface="Arial" panose="020B0604020202020204" pitchFamily="34" charset="0"/>
            </a:endParaRPr>
          </a:p>
        </p:txBody>
      </p:sp>
      <p:sp>
        <p:nvSpPr>
          <p:cNvPr id="156" name="Text Placeholder 2"/>
          <p:cNvSpPr>
            <a:spLocks noGrp="1"/>
          </p:cNvSpPr>
          <p:nvPr>
            <p:custDataLst>
              <p:tags r:id="rId31"/>
            </p:custDataLst>
          </p:nvPr>
        </p:nvSpPr>
        <p:spPr bwMode="gray">
          <a:xfrm flipV="1">
            <a:off x="4800600" y="2368550"/>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A94ACA3-537E-46EF-B768-D1D3DB7DB589}" type="datetime'''1''''3''''''''''''''''''''''''''9''''.''''''''''''7'''''">
              <a:rPr lang="es-ES_tradnl" altLang="en-US" sz="1200"/>
              <a:pPr/>
              <a:t>139.7</a:t>
            </a:fld>
            <a:endParaRPr lang="es-ES_tradnl" sz="1200" dirty="0">
              <a:sym typeface="+mn-lt"/>
            </a:endParaRPr>
          </a:p>
        </p:txBody>
      </p:sp>
      <p:graphicFrame>
        <p:nvGraphicFramePr>
          <p:cNvPr id="41" name="Object 40"/>
          <p:cNvGraphicFramePr>
            <a:graphicFrameLocks/>
          </p:cNvGraphicFramePr>
          <p:nvPr>
            <p:custDataLst>
              <p:tags r:id="rId32"/>
            </p:custDataLst>
            <p:extLst>
              <p:ext uri="{D42A27DB-BD31-4B8C-83A1-F6EECF244321}">
                <p14:modId xmlns:p14="http://schemas.microsoft.com/office/powerpoint/2010/main" val="2822421633"/>
              </p:ext>
            </p:extLst>
          </p:nvPr>
        </p:nvGraphicFramePr>
        <p:xfrm>
          <a:off x="6553200" y="2133599"/>
          <a:ext cx="5021531" cy="2811780"/>
        </p:xfrm>
        <a:graphic>
          <a:graphicData uri="http://schemas.openxmlformats.org/presentationml/2006/ole">
            <mc:AlternateContent xmlns:mc="http://schemas.openxmlformats.org/markup-compatibility/2006">
              <mc:Choice xmlns:v="urn:schemas-microsoft-com:vml" Requires="v">
                <p:oleObj spid="_x0000_s135364" name="Chart" r:id="rId71" imgW="5021531" imgH="2811780" progId="MSGraph.Chart.8">
                  <p:embed followColorScheme="full"/>
                </p:oleObj>
              </mc:Choice>
              <mc:Fallback>
                <p:oleObj name="Chart" r:id="rId71" imgW="5021531" imgH="2811780" progId="MSGraph.Chart.8">
                  <p:embed followColorScheme="full"/>
                  <p:pic>
                    <p:nvPicPr>
                      <p:cNvPr id="41" name="Object 40"/>
                      <p:cNvPicPr/>
                      <p:nvPr/>
                    </p:nvPicPr>
                    <p:blipFill>
                      <a:blip r:embed="rId72"/>
                      <a:stretch>
                        <a:fillRect/>
                      </a:stretch>
                    </p:blipFill>
                    <p:spPr>
                      <a:xfrm>
                        <a:off x="6553200" y="2133599"/>
                        <a:ext cx="5021531" cy="2811780"/>
                      </a:xfrm>
                      <a:prstGeom prst="rect">
                        <a:avLst/>
                      </a:prstGeom>
                    </p:spPr>
                  </p:pic>
                </p:oleObj>
              </mc:Fallback>
            </mc:AlternateContent>
          </a:graphicData>
        </a:graphic>
      </p:graphicFrame>
      <p:sp>
        <p:nvSpPr>
          <p:cNvPr id="51" name="Text Placeholder 100"/>
          <p:cNvSpPr>
            <a:spLocks noGrp="1"/>
          </p:cNvSpPr>
          <p:nvPr>
            <p:custDataLst>
              <p:tags r:id="rId33"/>
            </p:custDataLst>
          </p:nvPr>
        </p:nvSpPr>
        <p:spPr bwMode="auto">
          <a:xfrm flipV="1">
            <a:off x="6773863"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5756702-17DC-4050-BE90-147407F39DFC}" type="datetime'''''''C''''o''m''''''''p''''''a''''ñ''''''''í''''''''''a 1'">
              <a:rPr lang="es-ES_tradnl" altLang="en-US" sz="1200"/>
              <a:pPr/>
              <a:t>Compañía 1</a:t>
            </a:fld>
            <a:endParaRPr lang="es-ES_tradnl" sz="1200" dirty="0">
              <a:latin typeface="Arial" panose="020B0604020202020204" pitchFamily="34" charset="0"/>
              <a:sym typeface="Arial" panose="020B0604020202020204" pitchFamily="34" charset="0"/>
            </a:endParaRPr>
          </a:p>
        </p:txBody>
      </p:sp>
      <p:sp>
        <p:nvSpPr>
          <p:cNvPr id="58" name="Text Placeholder 72"/>
          <p:cNvSpPr>
            <a:spLocks noGrp="1"/>
          </p:cNvSpPr>
          <p:nvPr>
            <p:custDataLst>
              <p:tags r:id="rId34"/>
            </p:custDataLst>
          </p:nvPr>
        </p:nvSpPr>
        <p:spPr bwMode="auto">
          <a:xfrm flipV="1">
            <a:off x="9163050"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4D9FB81-795E-44D8-A4FC-B7E8A282AEA7}" type="datetime'''''Co''m''''''''p''''añ''''''''''í''a'''''''' 8'''''">
              <a:rPr lang="es-ES_tradnl" altLang="en-US" sz="1200"/>
              <a:pPr/>
              <a:t>Compañía 8</a:t>
            </a:fld>
            <a:endParaRPr lang="es-ES_tradnl" sz="1200" dirty="0">
              <a:latin typeface="Arial" panose="020B0604020202020204" pitchFamily="34" charset="0"/>
              <a:sym typeface="Arial" panose="020B0604020202020204" pitchFamily="34" charset="0"/>
            </a:endParaRPr>
          </a:p>
        </p:txBody>
      </p:sp>
      <p:sp>
        <p:nvSpPr>
          <p:cNvPr id="92" name="Text Placeholder 77"/>
          <p:cNvSpPr>
            <a:spLocks noGrp="1"/>
          </p:cNvSpPr>
          <p:nvPr>
            <p:custDataLst>
              <p:tags r:id="rId35"/>
            </p:custDataLst>
          </p:nvPr>
        </p:nvSpPr>
        <p:spPr bwMode="auto">
          <a:xfrm flipV="1">
            <a:off x="10866438"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AE141A0-F80D-44D8-B8E7-0CA6A6128401}" type="datetime'Com''''p''''añ''''í''''a'''''''' 1''''''''''3'''''">
              <a:rPr lang="es-ES_tradnl" altLang="en-US" sz="1200"/>
              <a:pPr/>
              <a:t>Compañía 13</a:t>
            </a:fld>
            <a:endParaRPr lang="es-ES_tradnl" sz="1200" dirty="0">
              <a:latin typeface="Arial" panose="020B0604020202020204" pitchFamily="34" charset="0"/>
              <a:sym typeface="Arial" panose="020B0604020202020204" pitchFamily="34" charset="0"/>
            </a:endParaRPr>
          </a:p>
        </p:txBody>
      </p:sp>
      <p:sp>
        <p:nvSpPr>
          <p:cNvPr id="52" name="Text Placeholder 39"/>
          <p:cNvSpPr>
            <a:spLocks noGrp="1"/>
          </p:cNvSpPr>
          <p:nvPr>
            <p:custDataLst>
              <p:tags r:id="rId36"/>
            </p:custDataLst>
          </p:nvPr>
        </p:nvSpPr>
        <p:spPr bwMode="gray">
          <a:xfrm flipV="1">
            <a:off x="7794625" y="2349500"/>
            <a:ext cx="182563"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28DB347-B7CC-498C-A994-F9602A5D7634}" type="datetime'''''''''1''''''''''''''''''''''''''1''''''2.''''0'''''''">
              <a:rPr lang="es-ES_tradnl" altLang="en-US" sz="1200"/>
              <a:pPr/>
              <a:t>112.0</a:t>
            </a:fld>
            <a:endParaRPr lang="es-ES_tradnl" sz="1200" dirty="0">
              <a:latin typeface="Arial" panose="020B0604020202020204" pitchFamily="34" charset="0"/>
              <a:sym typeface="Arial" panose="020B0604020202020204" pitchFamily="34" charset="0"/>
            </a:endParaRPr>
          </a:p>
        </p:txBody>
      </p:sp>
      <p:sp>
        <p:nvSpPr>
          <p:cNvPr id="46" name="Text Placeholder 41"/>
          <p:cNvSpPr>
            <a:spLocks noGrp="1"/>
          </p:cNvSpPr>
          <p:nvPr>
            <p:custDataLst>
              <p:tags r:id="rId37"/>
            </p:custDataLst>
          </p:nvPr>
        </p:nvSpPr>
        <p:spPr bwMode="gray">
          <a:xfrm flipV="1">
            <a:off x="8480425" y="2241550"/>
            <a:ext cx="182563"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310BA79-57E4-491F-9437-E98C6E951A6A}" type="datetime'''''''''''117''''.''''''''''''''''''7'''">
              <a:rPr lang="es-ES_tradnl" altLang="en-US" sz="1200"/>
              <a:pPr/>
              <a:t>117.7</a:t>
            </a:fld>
            <a:endParaRPr lang="es-ES_tradnl" sz="1200" dirty="0">
              <a:latin typeface="Arial" panose="020B0604020202020204" pitchFamily="34" charset="0"/>
              <a:sym typeface="Arial" panose="020B0604020202020204" pitchFamily="34" charset="0"/>
            </a:endParaRPr>
          </a:p>
        </p:txBody>
      </p:sp>
      <p:sp>
        <p:nvSpPr>
          <p:cNvPr id="45" name="Text Placeholder 36"/>
          <p:cNvSpPr>
            <a:spLocks noGrp="1"/>
          </p:cNvSpPr>
          <p:nvPr>
            <p:custDataLst>
              <p:tags r:id="rId38"/>
            </p:custDataLst>
          </p:nvPr>
        </p:nvSpPr>
        <p:spPr bwMode="gray">
          <a:xfrm flipV="1">
            <a:off x="7116763" y="2543175"/>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2A29D0D-D8AF-4062-96C0-9AFB7B8EA847}" type="datetime'1''''''0''''0''''''''''''.''''''6'''''''''''''''''''''">
              <a:rPr lang="es-ES_tradnl" altLang="en-US" sz="1200"/>
              <a:pPr/>
              <a:t>100.6</a:t>
            </a:fld>
            <a:endParaRPr lang="es-ES_tradnl" sz="1200" dirty="0">
              <a:latin typeface="Arial" panose="020B0604020202020204" pitchFamily="34" charset="0"/>
              <a:sym typeface="Arial" panose="020B0604020202020204" pitchFamily="34" charset="0"/>
            </a:endParaRPr>
          </a:p>
        </p:txBody>
      </p:sp>
      <p:sp>
        <p:nvSpPr>
          <p:cNvPr id="94" name="Text Placeholder 76"/>
          <p:cNvSpPr>
            <a:spLocks noGrp="1"/>
          </p:cNvSpPr>
          <p:nvPr>
            <p:custDataLst>
              <p:tags r:id="rId39"/>
            </p:custDataLst>
          </p:nvPr>
        </p:nvSpPr>
        <p:spPr bwMode="auto">
          <a:xfrm flipV="1">
            <a:off x="10526713"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FB67E3F-862C-4381-AC49-F2F3969D33F3}" type="datetime'''''C''o''''''''m''''''p''''''a''''ñ''''''''''''''ía ''1''''2'">
              <a:rPr lang="es-ES_tradnl" altLang="en-US" sz="1200"/>
              <a:pPr/>
              <a:t>Compañía 12</a:t>
            </a:fld>
            <a:endParaRPr lang="es-ES_tradnl" sz="1200" dirty="0">
              <a:latin typeface="Arial" panose="020B0604020202020204" pitchFamily="34" charset="0"/>
              <a:sym typeface="Arial" panose="020B0604020202020204" pitchFamily="34" charset="0"/>
            </a:endParaRPr>
          </a:p>
        </p:txBody>
      </p:sp>
      <p:sp>
        <p:nvSpPr>
          <p:cNvPr id="67" name="Text Placeholder 43"/>
          <p:cNvSpPr>
            <a:spLocks noGrp="1"/>
          </p:cNvSpPr>
          <p:nvPr>
            <p:custDataLst>
              <p:tags r:id="rId40"/>
            </p:custDataLst>
          </p:nvPr>
        </p:nvSpPr>
        <p:spPr bwMode="gray">
          <a:xfrm flipV="1">
            <a:off x="9163050" y="2132013"/>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C4BC101-7D95-4A25-95B7-E83B4FA24C29}" type="datetime'''''''''''''''''1''''''''''''''''22''.''''''''8'''''''''">
              <a:rPr lang="es-ES_tradnl" altLang="en-US" sz="1200"/>
              <a:pPr/>
              <a:t>122.8</a:t>
            </a:fld>
            <a:endParaRPr lang="es-ES_tradnl" sz="1200" dirty="0">
              <a:latin typeface="Arial" panose="020B0604020202020204" pitchFamily="34" charset="0"/>
              <a:sym typeface="Arial" panose="020B0604020202020204" pitchFamily="34" charset="0"/>
            </a:endParaRPr>
          </a:p>
        </p:txBody>
      </p:sp>
      <p:sp>
        <p:nvSpPr>
          <p:cNvPr id="77" name="Text Placeholder 2"/>
          <p:cNvSpPr>
            <a:spLocks noGrp="1"/>
          </p:cNvSpPr>
          <p:nvPr>
            <p:custDataLst>
              <p:tags r:id="rId41"/>
            </p:custDataLst>
          </p:nvPr>
        </p:nvSpPr>
        <p:spPr bwMode="gray">
          <a:xfrm flipV="1">
            <a:off x="10526713" y="2093913"/>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B47F210-A521-401F-BA47-42BC8A5B34E3}" type="datetime'1''''''''''''''2''''''''''''''''5''''''''''''.''0'''''''''''">
              <a:rPr lang="en-US" altLang="en-US" sz="1200">
                <a:sym typeface="+mn-lt"/>
              </a:rPr>
              <a:pPr/>
              <a:t>125.0</a:t>
            </a:fld>
            <a:endParaRPr lang="en-US" sz="1200" dirty="0">
              <a:sym typeface="+mn-lt"/>
            </a:endParaRPr>
          </a:p>
        </p:txBody>
      </p:sp>
      <p:sp>
        <p:nvSpPr>
          <p:cNvPr id="68" name="Text Placeholder 16"/>
          <p:cNvSpPr>
            <a:spLocks noGrp="1"/>
          </p:cNvSpPr>
          <p:nvPr>
            <p:custDataLst>
              <p:tags r:id="rId42"/>
            </p:custDataLst>
          </p:nvPr>
        </p:nvSpPr>
        <p:spPr bwMode="auto">
          <a:xfrm flipV="1">
            <a:off x="882332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9DA855C-AAF0-4846-845A-F4216894E92D}" type="datetime'''''''Com''''''''pa''''''ñ''''''ía'''''''''''''''' ''7'''''''">
              <a:rPr lang="es-ES_tradnl" altLang="en-US" sz="1200"/>
              <a:pPr/>
              <a:t>Compañía 7</a:t>
            </a:fld>
            <a:endParaRPr lang="es-ES_tradnl" sz="1200" dirty="0">
              <a:latin typeface="Arial" panose="020B0604020202020204" pitchFamily="34" charset="0"/>
              <a:sym typeface="Arial" panose="020B0604020202020204" pitchFamily="34" charset="0"/>
            </a:endParaRPr>
          </a:p>
        </p:txBody>
      </p:sp>
      <p:sp>
        <p:nvSpPr>
          <p:cNvPr id="49" name="Text Placeholder 62"/>
          <p:cNvSpPr>
            <a:spLocks noGrp="1"/>
          </p:cNvSpPr>
          <p:nvPr>
            <p:custDataLst>
              <p:tags r:id="rId43"/>
            </p:custDataLst>
          </p:nvPr>
        </p:nvSpPr>
        <p:spPr bwMode="auto">
          <a:xfrm flipV="1">
            <a:off x="7116763"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2CA8D9F-DBFF-4D2E-B991-7F6EA23A90C3}" type="datetime'C''''''om''''''''''''''''''''pañ''''í''''''''a'''''''' 2'''''">
              <a:rPr lang="es-ES_tradnl" altLang="en-US" sz="1200"/>
              <a:pPr/>
              <a:t>Compañía 2</a:t>
            </a:fld>
            <a:endParaRPr lang="es-ES_tradnl" sz="1200" dirty="0">
              <a:sym typeface="+mn-lt"/>
            </a:endParaRPr>
          </a:p>
        </p:txBody>
      </p:sp>
      <p:sp>
        <p:nvSpPr>
          <p:cNvPr id="90" name="Text Placeholder 46"/>
          <p:cNvSpPr>
            <a:spLocks noGrp="1"/>
          </p:cNvSpPr>
          <p:nvPr>
            <p:custDataLst>
              <p:tags r:id="rId44"/>
            </p:custDataLst>
          </p:nvPr>
        </p:nvSpPr>
        <p:spPr bwMode="gray">
          <a:xfrm flipV="1">
            <a:off x="10188575" y="1835150"/>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D7B7969-6C27-404E-8DFE-550F87220AE6}" type="datetime'''''''1''''''''''''''''''''3''''''''''''''''''''''9.''''0'''">
              <a:rPr lang="es-ES_tradnl" altLang="en-US" sz="1200"/>
              <a:pPr/>
              <a:t>139.0</a:t>
            </a:fld>
            <a:endParaRPr lang="es-ES_tradnl" sz="1200" dirty="0">
              <a:latin typeface="Arial" panose="020B0604020202020204" pitchFamily="34" charset="0"/>
              <a:sym typeface="Arial" panose="020B0604020202020204" pitchFamily="34" charset="0"/>
            </a:endParaRPr>
          </a:p>
        </p:txBody>
      </p:sp>
      <p:sp>
        <p:nvSpPr>
          <p:cNvPr id="47" name="Text Placeholder 156"/>
          <p:cNvSpPr>
            <a:spLocks noGrp="1"/>
          </p:cNvSpPr>
          <p:nvPr>
            <p:custDataLst>
              <p:tags r:id="rId45"/>
            </p:custDataLst>
          </p:nvPr>
        </p:nvSpPr>
        <p:spPr bwMode="auto">
          <a:xfrm flipV="1">
            <a:off x="779462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AC95554-6247-48DA-8589-FA3E0F1661F0}" type="datetime'''''''C''''om''pa''''''''''''ñí''''a'''''''''' ''''4'''''''''">
              <a:rPr lang="es-ES_tradnl" altLang="en-US" sz="1200"/>
              <a:pPr/>
              <a:t>Compañía 4</a:t>
            </a:fld>
            <a:endParaRPr lang="es-ES_tradnl" sz="1200" dirty="0">
              <a:latin typeface="Arial" panose="020B0604020202020204" pitchFamily="34" charset="0"/>
              <a:sym typeface="Arial" panose="020B0604020202020204" pitchFamily="34" charset="0"/>
            </a:endParaRPr>
          </a:p>
        </p:txBody>
      </p:sp>
      <p:sp>
        <p:nvSpPr>
          <p:cNvPr id="71" name="Text Placeholder 44"/>
          <p:cNvSpPr>
            <a:spLocks noGrp="1"/>
          </p:cNvSpPr>
          <p:nvPr>
            <p:custDataLst>
              <p:tags r:id="rId46"/>
            </p:custDataLst>
          </p:nvPr>
        </p:nvSpPr>
        <p:spPr bwMode="gray">
          <a:xfrm flipV="1">
            <a:off x="9502775" y="21097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68A9AD2-2700-4C8A-BDF8-248F8EC43291}" type="datetime'''12''4''''''''''''''''.''''''''''''''''''''''3'''''''''''''">
              <a:rPr lang="es-ES_tradnl" altLang="en-US" sz="1200"/>
              <a:pPr/>
              <a:t>124.3</a:t>
            </a:fld>
            <a:endParaRPr lang="es-ES_tradnl" sz="1200" dirty="0">
              <a:latin typeface="Arial" panose="020B0604020202020204" pitchFamily="34" charset="0"/>
              <a:sym typeface="Arial" panose="020B0604020202020204" pitchFamily="34" charset="0"/>
            </a:endParaRPr>
          </a:p>
        </p:txBody>
      </p:sp>
      <p:sp>
        <p:nvSpPr>
          <p:cNvPr id="44" name="Text Placeholder 40"/>
          <p:cNvSpPr>
            <a:spLocks noGrp="1"/>
          </p:cNvSpPr>
          <p:nvPr>
            <p:custDataLst>
              <p:tags r:id="rId47"/>
            </p:custDataLst>
          </p:nvPr>
        </p:nvSpPr>
        <p:spPr bwMode="gray">
          <a:xfrm flipV="1">
            <a:off x="8137525" y="2249488"/>
            <a:ext cx="182563" cy="4064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EB1CA94-C181-4C43-B316-53F370863134}" type="datetime'''''1''''''''''''1''7''''''''''''.0'''''''''''''''''''''''''''">
              <a:rPr lang="es-ES_tradnl" altLang="en-US" sz="1200"/>
              <a:pPr/>
              <a:t>117.0</a:t>
            </a:fld>
            <a:endParaRPr lang="es-ES_tradnl" sz="1200" dirty="0">
              <a:latin typeface="Arial" panose="020B0604020202020204" pitchFamily="34" charset="0"/>
              <a:sym typeface="Arial" panose="020B0604020202020204" pitchFamily="34" charset="0"/>
            </a:endParaRPr>
          </a:p>
        </p:txBody>
      </p:sp>
      <p:sp>
        <p:nvSpPr>
          <p:cNvPr id="48" name="Text Placeholder 63"/>
          <p:cNvSpPr>
            <a:spLocks noGrp="1"/>
          </p:cNvSpPr>
          <p:nvPr>
            <p:custDataLst>
              <p:tags r:id="rId48"/>
            </p:custDataLst>
          </p:nvPr>
        </p:nvSpPr>
        <p:spPr bwMode="auto">
          <a:xfrm flipV="1">
            <a:off x="7456488"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ltLang="en-US" sz="1200" dirty="0"/>
              <a:t>Compañía 3</a:t>
            </a:r>
            <a:endParaRPr lang="es-ES_tradnl" sz="1200" dirty="0">
              <a:sym typeface="+mn-lt"/>
            </a:endParaRPr>
          </a:p>
        </p:txBody>
      </p:sp>
      <p:sp>
        <p:nvSpPr>
          <p:cNvPr id="42" name="Text Placeholder 38"/>
          <p:cNvSpPr>
            <a:spLocks noGrp="1"/>
          </p:cNvSpPr>
          <p:nvPr>
            <p:custDataLst>
              <p:tags r:id="rId49"/>
            </p:custDataLst>
          </p:nvPr>
        </p:nvSpPr>
        <p:spPr bwMode="gray">
          <a:xfrm flipV="1">
            <a:off x="7456488" y="25288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BF62F5C-E5ED-4A97-B329-1FADC6221DA7}" type="datetime'10''''''''''''''''''''1.7'''">
              <a:rPr lang="es-ES_tradnl" altLang="en-US" sz="1200"/>
              <a:pPr/>
              <a:t>101.7</a:t>
            </a:fld>
            <a:endParaRPr lang="es-ES_tradnl" sz="1200" dirty="0">
              <a:latin typeface="Arial" panose="020B0604020202020204" pitchFamily="34" charset="0"/>
              <a:sym typeface="Arial" panose="020B0604020202020204" pitchFamily="34" charset="0"/>
            </a:endParaRPr>
          </a:p>
        </p:txBody>
      </p:sp>
      <p:sp>
        <p:nvSpPr>
          <p:cNvPr id="50" name="Text Placeholder 35"/>
          <p:cNvSpPr>
            <a:spLocks noGrp="1"/>
          </p:cNvSpPr>
          <p:nvPr>
            <p:custDataLst>
              <p:tags r:id="rId50"/>
            </p:custDataLst>
          </p:nvPr>
        </p:nvSpPr>
        <p:spPr bwMode="gray">
          <a:xfrm flipV="1">
            <a:off x="6773863" y="2551113"/>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24219C8-0CCA-4FB1-8492-7075DBB53EDB}" type="datetime'''''''''''''1''0''0''''.''''''''''2'''''''''''''''''''">
              <a:rPr lang="es-ES_tradnl" altLang="en-US" sz="1200"/>
              <a:pPr/>
              <a:t>100.2</a:t>
            </a:fld>
            <a:endParaRPr lang="es-ES_tradnl" sz="1200" dirty="0">
              <a:latin typeface="Arial" panose="020B0604020202020204" pitchFamily="34" charset="0"/>
              <a:sym typeface="Arial" panose="020B0604020202020204" pitchFamily="34" charset="0"/>
            </a:endParaRPr>
          </a:p>
        </p:txBody>
      </p:sp>
      <p:sp>
        <p:nvSpPr>
          <p:cNvPr id="91" name="Text Placeholder 11"/>
          <p:cNvSpPr>
            <a:spLocks noGrp="1"/>
          </p:cNvSpPr>
          <p:nvPr>
            <p:custDataLst>
              <p:tags r:id="rId51"/>
            </p:custDataLst>
          </p:nvPr>
        </p:nvSpPr>
        <p:spPr bwMode="auto">
          <a:xfrm flipV="1">
            <a:off x="11209338"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96F8093-C957-4232-ACF9-74D156AACB99}" type="datetime'C''''o''''mp''''a''ñ''''í''''''a'' ''''''''''''''''''''1''''4'">
              <a:rPr lang="es-ES_tradnl" altLang="en-US" sz="1200"/>
              <a:pPr/>
              <a:t>Compañía 14</a:t>
            </a:fld>
            <a:endParaRPr lang="es-ES_tradnl" sz="1200" dirty="0">
              <a:latin typeface="Arial" panose="020B0604020202020204" pitchFamily="34" charset="0"/>
              <a:sym typeface="Arial" panose="020B0604020202020204" pitchFamily="34" charset="0"/>
            </a:endParaRPr>
          </a:p>
        </p:txBody>
      </p:sp>
      <p:sp>
        <p:nvSpPr>
          <p:cNvPr id="53" name="Text Placeholder 75"/>
          <p:cNvSpPr>
            <a:spLocks noGrp="1"/>
          </p:cNvSpPr>
          <p:nvPr>
            <p:custDataLst>
              <p:tags r:id="rId52"/>
            </p:custDataLst>
          </p:nvPr>
        </p:nvSpPr>
        <p:spPr bwMode="auto">
          <a:xfrm flipV="1">
            <a:off x="10188575" y="4953000"/>
            <a:ext cx="182563" cy="9001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768D2EE-D762-4A6C-93CF-C5D61096C878}" type="datetime'''''''C''''o''''''''''''mp''a''''''ñí''''a'''''' 11'''''''''''">
              <a:rPr lang="es-ES_tradnl" altLang="en-US" sz="1200"/>
              <a:pPr/>
              <a:t>Compañía 11</a:t>
            </a:fld>
            <a:endParaRPr lang="es-ES_tradnl" sz="1200" dirty="0">
              <a:latin typeface="Arial" panose="020B0604020202020204" pitchFamily="34" charset="0"/>
              <a:sym typeface="Arial" panose="020B0604020202020204" pitchFamily="34" charset="0"/>
            </a:endParaRPr>
          </a:p>
        </p:txBody>
      </p:sp>
      <p:sp>
        <p:nvSpPr>
          <p:cNvPr id="57" name="Text Placeholder 73"/>
          <p:cNvSpPr>
            <a:spLocks noGrp="1"/>
          </p:cNvSpPr>
          <p:nvPr>
            <p:custDataLst>
              <p:tags r:id="rId53"/>
            </p:custDataLst>
          </p:nvPr>
        </p:nvSpPr>
        <p:spPr bwMode="auto">
          <a:xfrm flipV="1">
            <a:off x="950277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0C0FC6E-4289-4025-AB0C-46868220A92F}" type="datetime'C''o''m''''''pa''''''''''''ñ''''''í''''a'''''''' 9'''''">
              <a:rPr lang="es-ES_tradnl" altLang="en-US" sz="1200"/>
              <a:pPr/>
              <a:t>Compañía 9</a:t>
            </a:fld>
            <a:endParaRPr lang="es-ES_tradnl" sz="1200" dirty="0">
              <a:latin typeface="Arial" panose="020B0604020202020204" pitchFamily="34" charset="0"/>
              <a:sym typeface="Arial" panose="020B0604020202020204" pitchFamily="34" charset="0"/>
            </a:endParaRPr>
          </a:p>
        </p:txBody>
      </p:sp>
      <p:sp>
        <p:nvSpPr>
          <p:cNvPr id="43" name="Text Placeholder 70"/>
          <p:cNvSpPr>
            <a:spLocks noGrp="1"/>
          </p:cNvSpPr>
          <p:nvPr>
            <p:custDataLst>
              <p:tags r:id="rId54"/>
            </p:custDataLst>
          </p:nvPr>
        </p:nvSpPr>
        <p:spPr bwMode="auto">
          <a:xfrm flipV="1">
            <a:off x="813752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037E2EB-7120-48B2-BC0A-B5973AD10A6F}" type="datetime'''''''Co''''''''''''''''''''mpañí''''''''''a'' ''''''5'''''">
              <a:rPr lang="es-ES_tradnl" altLang="en-US" sz="1200"/>
              <a:pPr/>
              <a:t>Compañía 5</a:t>
            </a:fld>
            <a:endParaRPr lang="es-ES_tradnl" sz="1200" dirty="0">
              <a:latin typeface="Arial" panose="020B0604020202020204" pitchFamily="34" charset="0"/>
              <a:sym typeface="Arial" panose="020B0604020202020204" pitchFamily="34" charset="0"/>
            </a:endParaRPr>
          </a:p>
        </p:txBody>
      </p:sp>
      <p:sp>
        <p:nvSpPr>
          <p:cNvPr id="56" name="Text Placeholder 45"/>
          <p:cNvSpPr>
            <a:spLocks noGrp="1"/>
          </p:cNvSpPr>
          <p:nvPr>
            <p:custDataLst>
              <p:tags r:id="rId55"/>
            </p:custDataLst>
          </p:nvPr>
        </p:nvSpPr>
        <p:spPr bwMode="gray">
          <a:xfrm flipV="1">
            <a:off x="9845675" y="200183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CB1C7C9-2256-4A52-A032-58FEF4D28689}" type="datetime'''''''''''''1''''''29''''.''''''''''''''8'''''''''">
              <a:rPr lang="es-ES_tradnl" altLang="en-US" sz="1200"/>
              <a:pPr/>
              <a:t>129.8</a:t>
            </a:fld>
            <a:endParaRPr lang="es-ES_tradnl" sz="1200" dirty="0">
              <a:latin typeface="Arial" panose="020B0604020202020204" pitchFamily="34" charset="0"/>
              <a:sym typeface="Arial" panose="020B0604020202020204" pitchFamily="34" charset="0"/>
            </a:endParaRPr>
          </a:p>
        </p:txBody>
      </p:sp>
      <p:sp>
        <p:nvSpPr>
          <p:cNvPr id="76" name="Text Placeholder 42"/>
          <p:cNvSpPr>
            <a:spLocks noGrp="1"/>
          </p:cNvSpPr>
          <p:nvPr>
            <p:custDataLst>
              <p:tags r:id="rId56"/>
            </p:custDataLst>
          </p:nvPr>
        </p:nvSpPr>
        <p:spPr bwMode="gray">
          <a:xfrm flipV="1">
            <a:off x="8823325" y="21478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8C4891C-CDFD-4740-98C5-7F253AD7F093}" type="datetime'''''''12''''''''2''''''''''.''''''''''''''''''''''1'''''">
              <a:rPr lang="es-ES_tradnl" altLang="en-US" sz="1200"/>
              <a:pPr/>
              <a:t>122.1</a:t>
            </a:fld>
            <a:endParaRPr lang="es-ES_tradnl" sz="1200" dirty="0">
              <a:latin typeface="Arial" panose="020B0604020202020204" pitchFamily="34" charset="0"/>
              <a:sym typeface="Arial" panose="020B0604020202020204" pitchFamily="34" charset="0"/>
            </a:endParaRPr>
          </a:p>
        </p:txBody>
      </p:sp>
      <p:sp>
        <p:nvSpPr>
          <p:cNvPr id="96" name="Text Placeholder 71"/>
          <p:cNvSpPr>
            <a:spLocks noGrp="1"/>
          </p:cNvSpPr>
          <p:nvPr>
            <p:custDataLst>
              <p:tags r:id="rId57"/>
            </p:custDataLst>
          </p:nvPr>
        </p:nvSpPr>
        <p:spPr bwMode="auto">
          <a:xfrm flipV="1">
            <a:off x="8480425" y="50260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464CF98-438D-4931-8AFA-0B7D3949995D}" type="datetime'Co''''''''''m''''''''p''''''''añ''í''''a'''''''' ''6'''''''">
              <a:rPr lang="es-ES_tradnl" altLang="en-US" sz="1200"/>
              <a:pPr/>
              <a:t>Compañía 6</a:t>
            </a:fld>
            <a:endParaRPr lang="es-ES_tradnl" sz="1200" dirty="0">
              <a:latin typeface="Arial" panose="020B0604020202020204" pitchFamily="34" charset="0"/>
              <a:sym typeface="Arial" panose="020B0604020202020204" pitchFamily="34" charset="0"/>
            </a:endParaRPr>
          </a:p>
        </p:txBody>
      </p:sp>
      <p:sp>
        <p:nvSpPr>
          <p:cNvPr id="55" name="Text Placeholder 74"/>
          <p:cNvSpPr>
            <a:spLocks noGrp="1"/>
          </p:cNvSpPr>
          <p:nvPr>
            <p:custDataLst>
              <p:tags r:id="rId58"/>
            </p:custDataLst>
          </p:nvPr>
        </p:nvSpPr>
        <p:spPr bwMode="auto">
          <a:xfrm flipV="1">
            <a:off x="9845675" y="49418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8FCE17E-3330-44C9-B192-445518BEEC13}" type="datetime'C''om''pañ''í''''a'''''''''''''''''''' ''1''''''''''0'''''''">
              <a:rPr lang="es-ES_tradnl" altLang="en-US" sz="1200"/>
              <a:pPr/>
              <a:t>Compañía 10</a:t>
            </a:fld>
            <a:endParaRPr lang="es-ES_tradnl" sz="1200" dirty="0">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39140" y="353603"/>
            <a:ext cx="1040175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39738">
              <a:tabLst>
                <a:tab pos="450850" algn="l"/>
              </a:tabLst>
            </a:pPr>
            <a:r>
              <a:rPr lang="es-ES" dirty="0"/>
              <a:t>Hay dispersión entre las empresas en demoras vs presupuesto</a:t>
            </a:r>
          </a:p>
        </p:txBody>
      </p:sp>
      <p:sp>
        <p:nvSpPr>
          <p:cNvPr id="104" name="1. On-page tracker"/>
          <p:cNvSpPr>
            <a:spLocks noChangeArrowheads="1"/>
          </p:cNvSpPr>
          <p:nvPr/>
        </p:nvSpPr>
        <p:spPr bwMode="gray">
          <a:xfrm>
            <a:off x="739141" y="75764"/>
            <a:ext cx="130997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39738">
              <a:tabLst>
                <a:tab pos="450850" algn="l"/>
              </a:tabLst>
            </a:pPr>
            <a:r>
              <a:rPr lang="es-ES_tradnl" sz="800" cap="all" dirty="0">
                <a:solidFill>
                  <a:schemeClr val="accent6"/>
                </a:solidFill>
                <a:latin typeface="+mn-lt"/>
              </a:rPr>
              <a:t>Construcción </a:t>
            </a:r>
          </a:p>
        </p:txBody>
      </p:sp>
      <p:sp>
        <p:nvSpPr>
          <p:cNvPr id="105" name="Round Same Side Corner Rectangle 104"/>
          <p:cNvSpPr>
            <a:spLocks/>
          </p:cNvSpPr>
          <p:nvPr/>
        </p:nvSpPr>
        <p:spPr>
          <a:xfrm>
            <a:off x="922020" y="954089"/>
            <a:ext cx="5152236" cy="485774"/>
          </a:xfrm>
          <a:prstGeom prst="round2SameRect">
            <a:avLst/>
          </a:prstGeom>
          <a:solidFill>
            <a:schemeClr val="accent2"/>
          </a:solidFill>
          <a:ln w="9525" algn="ctr">
            <a:noFill/>
            <a:miter lim="800000"/>
            <a:headEnd/>
            <a:tailEnd/>
          </a:ln>
          <a:effectLst/>
        </p:spPr>
        <p:txBody>
          <a:bodyPr vert="horz" wrap="square" lIns="125999" tIns="91440" rIns="125999" bIns="91440" numCol="1" anchor="ctr" anchorCtr="0" compatLnSpc="1">
            <a:prstTxWarp prst="textNoShape">
              <a:avLst/>
            </a:prstTxWarp>
            <a:noAutofit/>
          </a:bodyPr>
          <a:lstStyle/>
          <a:p>
            <a:r>
              <a:rPr lang="es-ES_tradnl" sz="1200" b="1" dirty="0">
                <a:solidFill>
                  <a:schemeClr val="bg1"/>
                </a:solidFill>
              </a:rPr>
              <a:t>Demoras vs. presupuesto viviendas VIS</a:t>
            </a:r>
          </a:p>
          <a:p>
            <a:r>
              <a:rPr lang="es-ES_tradnl" sz="1200" dirty="0">
                <a:solidFill>
                  <a:schemeClr val="bg1"/>
                </a:solidFill>
              </a:rPr>
              <a:t>%</a:t>
            </a:r>
          </a:p>
        </p:txBody>
      </p:sp>
      <p:sp>
        <p:nvSpPr>
          <p:cNvPr id="106" name="Round Same Side Corner Rectangle 105"/>
          <p:cNvSpPr>
            <a:spLocks/>
          </p:cNvSpPr>
          <p:nvPr/>
        </p:nvSpPr>
        <p:spPr>
          <a:xfrm>
            <a:off x="6553199" y="954089"/>
            <a:ext cx="5021532" cy="485774"/>
          </a:xfrm>
          <a:prstGeom prst="round2SameRect">
            <a:avLst/>
          </a:prstGeom>
          <a:solidFill>
            <a:schemeClr val="accent2"/>
          </a:solidFill>
          <a:ln w="9525" algn="ctr">
            <a:noFill/>
            <a:miter lim="800000"/>
            <a:headEnd/>
            <a:tailEnd/>
          </a:ln>
          <a:effectLst/>
        </p:spPr>
        <p:txBody>
          <a:bodyPr vert="horz" wrap="square" lIns="125999" tIns="91440" rIns="125999" bIns="91440" numCol="1" anchor="ctr" anchorCtr="0" compatLnSpc="1">
            <a:prstTxWarp prst="textNoShape">
              <a:avLst/>
            </a:prstTxWarp>
            <a:noAutofit/>
          </a:bodyPr>
          <a:lstStyle/>
          <a:p>
            <a:r>
              <a:rPr lang="es-ES_tradnl" sz="1200" b="1" dirty="0">
                <a:solidFill>
                  <a:schemeClr val="bg1"/>
                </a:solidFill>
              </a:rPr>
              <a:t>Demoras vs. presupuesto viviendas No-VIS</a:t>
            </a:r>
          </a:p>
          <a:p>
            <a:r>
              <a:rPr lang="es-ES_tradnl" sz="1200" dirty="0">
                <a:solidFill>
                  <a:schemeClr val="bg1"/>
                </a:solidFill>
              </a:rPr>
              <a:t>%</a:t>
            </a:r>
          </a:p>
        </p:txBody>
      </p:sp>
      <p:cxnSp>
        <p:nvCxnSpPr>
          <p:cNvPr id="17" name="Straight Connector 16"/>
          <p:cNvCxnSpPr>
            <a:cxnSpLocks/>
          </p:cNvCxnSpPr>
          <p:nvPr/>
        </p:nvCxnSpPr>
        <p:spPr>
          <a:xfrm>
            <a:off x="922020" y="3390437"/>
            <a:ext cx="46556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a:xfrm>
            <a:off x="6764148" y="2981877"/>
            <a:ext cx="4226097"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639837" y="3303588"/>
            <a:ext cx="427035"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sz="1200" dirty="0"/>
              <a:t>100%</a:t>
            </a:r>
          </a:p>
        </p:txBody>
      </p:sp>
      <p:sp>
        <p:nvSpPr>
          <p:cNvPr id="107" name="TextBox 106"/>
          <p:cNvSpPr txBox="1"/>
          <p:nvPr/>
        </p:nvSpPr>
        <p:spPr>
          <a:xfrm>
            <a:off x="10973573" y="2889543"/>
            <a:ext cx="427035"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S_tradnl" sz="1200" dirty="0"/>
              <a:t>100%</a:t>
            </a:r>
          </a:p>
        </p:txBody>
      </p:sp>
      <p:grpSp>
        <p:nvGrpSpPr>
          <p:cNvPr id="108" name="Group 107"/>
          <p:cNvGrpSpPr/>
          <p:nvPr/>
        </p:nvGrpSpPr>
        <p:grpSpPr>
          <a:xfrm>
            <a:off x="10672669" y="152400"/>
            <a:ext cx="649382" cy="229036"/>
            <a:chOff x="7845551" y="75764"/>
            <a:chExt cx="1042129" cy="367557"/>
          </a:xfrm>
        </p:grpSpPr>
        <p:sp>
          <p:nvSpPr>
            <p:cNvPr id="110" name="Freeform 109"/>
            <p:cNvSpPr/>
            <p:nvPr>
              <p:custDataLst>
                <p:tags r:id="rId59"/>
              </p:custDataLst>
            </p:nvPr>
          </p:nvSpPr>
          <p:spPr bwMode="auto">
            <a:xfrm>
              <a:off x="7845551" y="75764"/>
              <a:ext cx="260623" cy="20749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9755" y="0"/>
                  </a:lnTo>
                  <a:lnTo>
                    <a:pt x="1828800" y="457200"/>
                  </a:lnTo>
                  <a:lnTo>
                    <a:pt x="1749755" y="914401"/>
                  </a:lnTo>
                  <a:lnTo>
                    <a:pt x="0" y="914400"/>
                  </a:lnTo>
                  <a:lnTo>
                    <a:pt x="0" y="457201"/>
                  </a:lnTo>
                  <a:close/>
                </a:path>
              </a:pathLst>
            </a:custGeom>
            <a:solidFill>
              <a:srgbClr val="F2F2F2"/>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sp>
          <p:nvSpPr>
            <p:cNvPr id="111" name="Freeform 110"/>
            <p:cNvSpPr/>
            <p:nvPr>
              <p:custDataLst>
                <p:tags r:id="rId60"/>
              </p:custDataLst>
            </p:nvPr>
          </p:nvSpPr>
          <p:spPr bwMode="auto">
            <a:xfrm>
              <a:off x="8094573" y="75764"/>
              <a:ext cx="260624" cy="20749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79045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9755" y="0"/>
                  </a:lnTo>
                  <a:lnTo>
                    <a:pt x="1828800" y="457200"/>
                  </a:lnTo>
                  <a:lnTo>
                    <a:pt x="1749755" y="914401"/>
                  </a:lnTo>
                  <a:lnTo>
                    <a:pt x="0" y="914400"/>
                  </a:lnTo>
                  <a:lnTo>
                    <a:pt x="79045" y="457201"/>
                  </a:lnTo>
                  <a:close/>
                </a:path>
              </a:pathLst>
            </a:custGeom>
            <a:solidFill>
              <a:schemeClr val="bg1">
                <a:lumMod val="9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sp>
          <p:nvSpPr>
            <p:cNvPr id="112" name="Freeform 111"/>
            <p:cNvSpPr>
              <a:spLocks/>
            </p:cNvSpPr>
            <p:nvPr>
              <p:custDataLst>
                <p:tags r:id="rId61"/>
              </p:custDataLst>
            </p:nvPr>
          </p:nvSpPr>
          <p:spPr bwMode="auto">
            <a:xfrm>
              <a:off x="8343595" y="75764"/>
              <a:ext cx="260624" cy="20749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79045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9755" y="0"/>
                  </a:lnTo>
                  <a:lnTo>
                    <a:pt x="1828800" y="457200"/>
                  </a:lnTo>
                  <a:lnTo>
                    <a:pt x="1749755" y="914401"/>
                  </a:lnTo>
                  <a:lnTo>
                    <a:pt x="0" y="914400"/>
                  </a:lnTo>
                  <a:lnTo>
                    <a:pt x="79045" y="457201"/>
                  </a:lnTo>
                  <a:close/>
                </a:path>
              </a:pathLst>
            </a:custGeom>
            <a:solidFill>
              <a:schemeClr val="accent3">
                <a:lumMod val="7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sp>
          <p:nvSpPr>
            <p:cNvPr id="113" name="Rectangle 112"/>
            <p:cNvSpPr>
              <a:spLocks/>
            </p:cNvSpPr>
            <p:nvPr/>
          </p:nvSpPr>
          <p:spPr>
            <a:xfrm>
              <a:off x="8627056" y="75764"/>
              <a:ext cx="260624" cy="207494"/>
            </a:xfrm>
            <a:prstGeom prst="rect">
              <a:avLst/>
            </a:prstGeom>
            <a:solidFill>
              <a:schemeClr val="bg1">
                <a:lumMod val="9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r>
                <a:rPr lang="es-ES_tradnl" dirty="0"/>
                <a:t>        </a:t>
              </a:r>
            </a:p>
          </p:txBody>
        </p:sp>
        <p:sp>
          <p:nvSpPr>
            <p:cNvPr id="114" name="Freeform 113"/>
            <p:cNvSpPr>
              <a:spLocks/>
            </p:cNvSpPr>
            <p:nvPr>
              <p:custDataLst>
                <p:tags r:id="rId62"/>
              </p:custDataLst>
            </p:nvPr>
          </p:nvSpPr>
          <p:spPr bwMode="auto">
            <a:xfrm>
              <a:off x="7845551" y="323039"/>
              <a:ext cx="1042129" cy="12028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86996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86996 w 1828800"/>
                <a:gd name="connsiteY1" fmla="*/ 0 h 914401"/>
                <a:gd name="connsiteX2" fmla="*/ 1828800 w 1828800"/>
                <a:gd name="connsiteY2" fmla="*/ 457200 h 914401"/>
                <a:gd name="connsiteX3" fmla="*/ 1786996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86996 w 1828800"/>
                <a:gd name="connsiteY1" fmla="*/ 0 h 914401"/>
                <a:gd name="connsiteX2" fmla="*/ 1828800 w 1828800"/>
                <a:gd name="connsiteY2" fmla="*/ 457200 h 914401"/>
                <a:gd name="connsiteX3" fmla="*/ 1786996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92420 w 1828800"/>
                <a:gd name="connsiteY1" fmla="*/ 0 h 914401"/>
                <a:gd name="connsiteX2" fmla="*/ 1828800 w 1828800"/>
                <a:gd name="connsiteY2" fmla="*/ 457200 h 914401"/>
                <a:gd name="connsiteX3" fmla="*/ 1786996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92420 w 1828800"/>
                <a:gd name="connsiteY1" fmla="*/ 0 h 914401"/>
                <a:gd name="connsiteX2" fmla="*/ 1828800 w 1828800"/>
                <a:gd name="connsiteY2" fmla="*/ 457200 h 914401"/>
                <a:gd name="connsiteX3" fmla="*/ 1792420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92420" y="0"/>
                  </a:lnTo>
                  <a:lnTo>
                    <a:pt x="1828800" y="457200"/>
                  </a:lnTo>
                  <a:lnTo>
                    <a:pt x="1792420" y="914401"/>
                  </a:lnTo>
                  <a:lnTo>
                    <a:pt x="0" y="914400"/>
                  </a:lnTo>
                  <a:lnTo>
                    <a:pt x="0" y="457201"/>
                  </a:lnTo>
                  <a:close/>
                </a:path>
              </a:pathLst>
            </a:custGeom>
            <a:solidFill>
              <a:schemeClr val="bg1">
                <a:lumMod val="9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grpSp>
      <p:sp>
        <p:nvSpPr>
          <p:cNvPr id="95" name="Oval 94">
            <a:extLst>
              <a:ext uri="{FF2B5EF4-FFF2-40B4-BE49-F238E27FC236}">
                <a16:creationId xmlns:a16="http://schemas.microsoft.com/office/drawing/2014/main" id="{DE0F9248-CFCC-4BC7-9EAB-6EB65910EF52}"/>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spTree>
    <p:extLst>
      <p:ext uri="{BB962C8B-B14F-4D97-AF65-F5344CB8AC3E}">
        <p14:creationId xmlns:p14="http://schemas.microsoft.com/office/powerpoint/2010/main" val="2985342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p:cNvGraphicFramePr>
            <a:graphicFrameLocks noChangeAspect="1"/>
          </p:cNvGraphicFramePr>
          <p:nvPr>
            <p:custDataLst>
              <p:tags r:id="rId2"/>
            </p:custDataLst>
            <p:extLst>
              <p:ext uri="{D42A27DB-BD31-4B8C-83A1-F6EECF244321}">
                <p14:modId xmlns:p14="http://schemas.microsoft.com/office/powerpoint/2010/main" val="1291699807"/>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36386" name="think-cell Slide" r:id="rId68" imgW="442" imgH="440" progId="TCLayout.ActiveDocument.1">
                  <p:embed/>
                </p:oleObj>
              </mc:Choice>
              <mc:Fallback>
                <p:oleObj name="think-cell Slide" r:id="rId68" imgW="442" imgH="440" progId="TCLayout.ActiveDocument.1">
                  <p:embed/>
                  <p:pic>
                    <p:nvPicPr>
                      <p:cNvPr id="89" name="Object 88" hidden="1"/>
                      <p:cNvPicPr/>
                      <p:nvPr/>
                    </p:nvPicPr>
                    <p:blipFill>
                      <a:blip r:embed="rId69"/>
                      <a:stretch>
                        <a:fillRect/>
                      </a:stretch>
                    </p:blipFill>
                    <p:spPr>
                      <a:xfrm>
                        <a:off x="1495426" y="1589"/>
                        <a:ext cx="1586" cy="1586"/>
                      </a:xfrm>
                      <a:prstGeom prst="rect">
                        <a:avLst/>
                      </a:prstGeom>
                    </p:spPr>
                  </p:pic>
                </p:oleObj>
              </mc:Fallback>
            </mc:AlternateContent>
          </a:graphicData>
        </a:graphic>
      </p:graphicFrame>
      <p:sp>
        <p:nvSpPr>
          <p:cNvPr id="88" name="Rectangle 87" hidden="1"/>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_tradnl" sz="1200" dirty="0">
              <a:solidFill>
                <a:schemeClr val="tx1"/>
              </a:solidFill>
              <a:latin typeface="Arial" panose="020B0604020202020204" pitchFamily="34" charset="0"/>
              <a:sym typeface="Arial" panose="020B0604020202020204" pitchFamily="34" charset="0"/>
            </a:endParaRPr>
          </a:p>
        </p:txBody>
      </p:sp>
      <p:grpSp>
        <p:nvGrpSpPr>
          <p:cNvPr id="3" name="Group 2">
            <a:extLst>
              <a:ext uri="{FF2B5EF4-FFF2-40B4-BE49-F238E27FC236}">
                <a16:creationId xmlns:a16="http://schemas.microsoft.com/office/drawing/2014/main" id="{DDEE9DAC-FC57-4866-9C82-B3E45EC97449}"/>
              </a:ext>
            </a:extLst>
          </p:cNvPr>
          <p:cNvGrpSpPr>
            <a:grpSpLocks/>
          </p:cNvGrpSpPr>
          <p:nvPr/>
        </p:nvGrpSpPr>
        <p:grpSpPr>
          <a:xfrm>
            <a:off x="5132590" y="1439865"/>
            <a:ext cx="6520930" cy="4503735"/>
            <a:chOff x="5222240" y="1501418"/>
            <a:chExt cx="6433416" cy="4451045"/>
          </a:xfrm>
        </p:grpSpPr>
        <p:pic>
          <p:nvPicPr>
            <p:cNvPr id="5" name="Picture 4"/>
            <p:cNvPicPr>
              <a:picLocks/>
            </p:cNvPicPr>
            <p:nvPr/>
          </p:nvPicPr>
          <p:blipFill>
            <a:blip r:embed="rId70" cstate="email">
              <a:extLst>
                <a:ext uri="{BEBA8EAE-BF5A-486C-A8C5-ECC9F3942E4B}">
                  <a14:imgProps xmlns:a14="http://schemas.microsoft.com/office/drawing/2010/main">
                    <a14:imgLayer r:embed="rId71">
                      <a14:imgEffect>
                        <a14:saturation sat="0"/>
                      </a14:imgEffect>
                    </a14:imgLayer>
                  </a14:imgProps>
                </a:ext>
                <a:ext uri="{28A0092B-C50C-407E-A947-70E740481C1C}">
                  <a14:useLocalDpi xmlns:a14="http://schemas.microsoft.com/office/drawing/2010/main"/>
                </a:ext>
              </a:extLst>
            </a:blip>
            <a:stretch>
              <a:fillRect/>
            </a:stretch>
          </p:blipFill>
          <p:spPr>
            <a:xfrm flipH="1">
              <a:off x="5222240" y="1501418"/>
              <a:ext cx="6433416" cy="4451045"/>
            </a:xfrm>
            <a:prstGeom prst="rect">
              <a:avLst/>
            </a:prstGeom>
          </p:spPr>
        </p:pic>
        <p:sp>
          <p:nvSpPr>
            <p:cNvPr id="109" name="Rectangle 108"/>
            <p:cNvSpPr>
              <a:spLocks/>
            </p:cNvSpPr>
            <p:nvPr/>
          </p:nvSpPr>
          <p:spPr>
            <a:xfrm>
              <a:off x="5222240" y="1501418"/>
              <a:ext cx="6433416" cy="4451045"/>
            </a:xfrm>
            <a:prstGeom prst="rect">
              <a:avLst/>
            </a:prstGeom>
            <a:gradFill>
              <a:gsLst>
                <a:gs pos="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_tradnl" dirty="0">
                <a:solidFill>
                  <a:schemeClr val="tx1"/>
                </a:solidFill>
              </a:endParaRPr>
            </a:p>
          </p:txBody>
        </p:sp>
      </p:grpSp>
      <p:sp>
        <p:nvSpPr>
          <p:cNvPr id="100" name="Rectangle 2">
            <a:extLst>
              <a:ext uri="{FF2B5EF4-FFF2-40B4-BE49-F238E27FC236}">
                <a16:creationId xmlns:a16="http://schemas.microsoft.com/office/drawing/2014/main" id="{8C15CB2E-463C-4325-BDDD-23ABC7C31918}"/>
              </a:ext>
            </a:extLst>
          </p:cNvPr>
          <p:cNvSpPr>
            <a:spLocks noChangeArrowheads="1"/>
          </p:cNvSpPr>
          <p:nvPr/>
        </p:nvSpPr>
        <p:spPr bwMode="gray">
          <a:xfrm>
            <a:off x="695956" y="1439865"/>
            <a:ext cx="10957564" cy="4503735"/>
          </a:xfrm>
          <a:prstGeom prst="rect">
            <a:avLst/>
          </a:prstGeom>
          <a:gradFill>
            <a:gsLst>
              <a:gs pos="0">
                <a:schemeClr val="bg1"/>
              </a:gs>
              <a:gs pos="100000">
                <a:schemeClr val="bg1">
                  <a:alpha val="71000"/>
                </a:schemeClr>
              </a:gs>
            </a:gsLst>
            <a:lin ang="0" scaled="0"/>
          </a:gradFill>
          <a:ln w="9525" algn="ctr">
            <a:solidFill>
              <a:schemeClr val="accent6">
                <a:lumMod val="40000"/>
                <a:lumOff val="60000"/>
              </a:schemeClr>
            </a:solidFill>
            <a:miter lim="800000"/>
            <a:headEnd/>
            <a:tailEnd/>
          </a:ln>
          <a:effectLst>
            <a:outerShdw dist="53340" dir="2700000" algn="tl" rotWithShape="0">
              <a:schemeClr val="tx1">
                <a:alpha val="5000"/>
              </a:schemeClr>
            </a:outerShdw>
          </a:effectLst>
        </p:spPr>
        <p:txBody>
          <a:bodyPr vert="horz" wrap="square" lIns="91440" tIns="45719" rIns="91440" bIns="45719" numCol="1" anchor="t" anchorCtr="0" compatLnSpc="1">
            <a:prstTxWarp prst="textNoShape">
              <a:avLst/>
            </a:prstTxWarp>
          </a:bodyPr>
          <a:lstStyle/>
          <a:p>
            <a:endParaRPr lang="es-ES_tradnl" dirty="0"/>
          </a:p>
        </p:txBody>
      </p:sp>
      <p:sp>
        <p:nvSpPr>
          <p:cNvPr id="101" name="Round Same Side Corner Rectangle 104">
            <a:extLst>
              <a:ext uri="{FF2B5EF4-FFF2-40B4-BE49-F238E27FC236}">
                <a16:creationId xmlns:a16="http://schemas.microsoft.com/office/drawing/2014/main" id="{7C4CCFED-EC81-4087-B108-E0DB86CDF855}"/>
              </a:ext>
            </a:extLst>
          </p:cNvPr>
          <p:cNvSpPr>
            <a:spLocks/>
          </p:cNvSpPr>
          <p:nvPr/>
        </p:nvSpPr>
        <p:spPr>
          <a:xfrm>
            <a:off x="922020" y="954089"/>
            <a:ext cx="5152236" cy="485774"/>
          </a:xfrm>
          <a:prstGeom prst="round2SameRect">
            <a:avLst/>
          </a:prstGeom>
          <a:solidFill>
            <a:schemeClr val="accent2"/>
          </a:solidFill>
          <a:ln w="9525" algn="ctr">
            <a:noFill/>
            <a:miter lim="800000"/>
            <a:headEnd/>
            <a:tailEnd/>
          </a:ln>
          <a:effectLst/>
        </p:spPr>
        <p:txBody>
          <a:bodyPr vert="horz" wrap="square" lIns="125999" tIns="91440" rIns="125999" bIns="91440" numCol="1" anchor="ctr" anchorCtr="0" compatLnSpc="1">
            <a:prstTxWarp prst="textNoShape">
              <a:avLst/>
            </a:prstTxWarp>
            <a:noAutofit/>
          </a:bodyPr>
          <a:lstStyle/>
          <a:p>
            <a:r>
              <a:rPr lang="es-ES_tradnl" sz="1200" b="1" dirty="0">
                <a:solidFill>
                  <a:schemeClr val="bg1"/>
                </a:solidFill>
              </a:rPr>
              <a:t>Sobrecostos vs. presupuesto viviendas VIS</a:t>
            </a:r>
          </a:p>
          <a:p>
            <a:r>
              <a:rPr lang="es-ES_tradnl" sz="1200" dirty="0">
                <a:solidFill>
                  <a:schemeClr val="bg1"/>
                </a:solidFill>
              </a:rPr>
              <a:t>%</a:t>
            </a:r>
          </a:p>
        </p:txBody>
      </p:sp>
      <p:sp>
        <p:nvSpPr>
          <p:cNvPr id="114" name="Round Same Side Corner Rectangle 105">
            <a:extLst>
              <a:ext uri="{FF2B5EF4-FFF2-40B4-BE49-F238E27FC236}">
                <a16:creationId xmlns:a16="http://schemas.microsoft.com/office/drawing/2014/main" id="{899D5065-0ECF-4124-AD08-C4BC8C3F52BE}"/>
              </a:ext>
            </a:extLst>
          </p:cNvPr>
          <p:cNvSpPr>
            <a:spLocks/>
          </p:cNvSpPr>
          <p:nvPr/>
        </p:nvSpPr>
        <p:spPr>
          <a:xfrm>
            <a:off x="6553199" y="954089"/>
            <a:ext cx="5021532" cy="485774"/>
          </a:xfrm>
          <a:prstGeom prst="round2SameRect">
            <a:avLst/>
          </a:prstGeom>
          <a:solidFill>
            <a:schemeClr val="accent2"/>
          </a:solidFill>
          <a:ln w="9525" algn="ctr">
            <a:noFill/>
            <a:miter lim="800000"/>
            <a:headEnd/>
            <a:tailEnd/>
          </a:ln>
          <a:effectLst/>
        </p:spPr>
        <p:txBody>
          <a:bodyPr vert="horz" wrap="square" lIns="125999" tIns="91440" rIns="125999" bIns="91440" numCol="1" anchor="ctr" anchorCtr="0" compatLnSpc="1">
            <a:prstTxWarp prst="textNoShape">
              <a:avLst/>
            </a:prstTxWarp>
            <a:noAutofit/>
          </a:bodyPr>
          <a:lstStyle/>
          <a:p>
            <a:r>
              <a:rPr lang="es-ES_tradnl" sz="1200" b="1" dirty="0">
                <a:solidFill>
                  <a:schemeClr val="bg1"/>
                </a:solidFill>
              </a:rPr>
              <a:t>Sobrecostos vs. presupuesto viviendas No-VIS</a:t>
            </a:r>
          </a:p>
          <a:p>
            <a:r>
              <a:rPr lang="es-ES_tradnl" sz="1200" dirty="0">
                <a:solidFill>
                  <a:schemeClr val="bg1"/>
                </a:solidFill>
              </a:rPr>
              <a:t>%</a:t>
            </a:r>
          </a:p>
        </p:txBody>
      </p:sp>
      <p:sp>
        <p:nvSpPr>
          <p:cNvPr id="2" name="Title 1"/>
          <p:cNvSpPr>
            <a:spLocks noGrp="1"/>
          </p:cNvSpPr>
          <p:nvPr>
            <p:ph type="title"/>
          </p:nvPr>
        </p:nvSpPr>
        <p:spPr>
          <a:xfrm>
            <a:off x="739140" y="353603"/>
            <a:ext cx="1040175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39738"/>
            <a:r>
              <a:rPr lang="es-ES" dirty="0"/>
              <a:t>Hay dispersión entre las empresas en sobrecostos vs presupuesto</a:t>
            </a:r>
          </a:p>
        </p:txBody>
      </p:sp>
      <p:sp>
        <p:nvSpPr>
          <p:cNvPr id="104" name="1. On-page tracker"/>
          <p:cNvSpPr>
            <a:spLocks noChangeArrowheads="1"/>
          </p:cNvSpPr>
          <p:nvPr/>
        </p:nvSpPr>
        <p:spPr bwMode="gray">
          <a:xfrm>
            <a:off x="739141" y="75764"/>
            <a:ext cx="130997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39738"/>
            <a:r>
              <a:rPr lang="es-ES_tradnl" sz="800" cap="all" dirty="0">
                <a:solidFill>
                  <a:schemeClr val="accent6"/>
                </a:solidFill>
                <a:latin typeface="+mn-lt"/>
              </a:rPr>
              <a:t>Construcción </a:t>
            </a:r>
          </a:p>
        </p:txBody>
      </p:sp>
      <p:grpSp>
        <p:nvGrpSpPr>
          <p:cNvPr id="107" name="Group 106"/>
          <p:cNvGrpSpPr/>
          <p:nvPr/>
        </p:nvGrpSpPr>
        <p:grpSpPr>
          <a:xfrm>
            <a:off x="10672669" y="152400"/>
            <a:ext cx="649382" cy="229036"/>
            <a:chOff x="7845551" y="75764"/>
            <a:chExt cx="1042129" cy="367557"/>
          </a:xfrm>
        </p:grpSpPr>
        <p:sp>
          <p:nvSpPr>
            <p:cNvPr id="108" name="Freeform 107"/>
            <p:cNvSpPr/>
            <p:nvPr>
              <p:custDataLst>
                <p:tags r:id="rId62"/>
              </p:custDataLst>
            </p:nvPr>
          </p:nvSpPr>
          <p:spPr bwMode="auto">
            <a:xfrm>
              <a:off x="7845551" y="75764"/>
              <a:ext cx="260623" cy="20749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9755" y="0"/>
                  </a:lnTo>
                  <a:lnTo>
                    <a:pt x="1828800" y="457200"/>
                  </a:lnTo>
                  <a:lnTo>
                    <a:pt x="1749755" y="914401"/>
                  </a:lnTo>
                  <a:lnTo>
                    <a:pt x="0" y="914400"/>
                  </a:lnTo>
                  <a:lnTo>
                    <a:pt x="0" y="457201"/>
                  </a:lnTo>
                  <a:close/>
                </a:path>
              </a:pathLst>
            </a:custGeom>
            <a:solidFill>
              <a:srgbClr val="F2F2F2"/>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sp>
          <p:nvSpPr>
            <p:cNvPr id="110" name="Freeform 109"/>
            <p:cNvSpPr/>
            <p:nvPr>
              <p:custDataLst>
                <p:tags r:id="rId63"/>
              </p:custDataLst>
            </p:nvPr>
          </p:nvSpPr>
          <p:spPr bwMode="auto">
            <a:xfrm>
              <a:off x="8094573" y="75764"/>
              <a:ext cx="260624" cy="20749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79045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9755" y="0"/>
                  </a:lnTo>
                  <a:lnTo>
                    <a:pt x="1828800" y="457200"/>
                  </a:lnTo>
                  <a:lnTo>
                    <a:pt x="1749755" y="914401"/>
                  </a:lnTo>
                  <a:lnTo>
                    <a:pt x="0" y="914400"/>
                  </a:lnTo>
                  <a:lnTo>
                    <a:pt x="79045" y="457201"/>
                  </a:lnTo>
                  <a:close/>
                </a:path>
              </a:pathLst>
            </a:custGeom>
            <a:solidFill>
              <a:schemeClr val="bg1">
                <a:lumMod val="9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sp>
          <p:nvSpPr>
            <p:cNvPr id="111" name="Freeform 110"/>
            <p:cNvSpPr>
              <a:spLocks/>
            </p:cNvSpPr>
            <p:nvPr>
              <p:custDataLst>
                <p:tags r:id="rId64"/>
              </p:custDataLst>
            </p:nvPr>
          </p:nvSpPr>
          <p:spPr bwMode="auto">
            <a:xfrm>
              <a:off x="8343595" y="75764"/>
              <a:ext cx="260624" cy="207494"/>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9045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79045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49755" y="0"/>
                  </a:lnTo>
                  <a:lnTo>
                    <a:pt x="1828800" y="457200"/>
                  </a:lnTo>
                  <a:lnTo>
                    <a:pt x="1749755" y="914401"/>
                  </a:lnTo>
                  <a:lnTo>
                    <a:pt x="0" y="914400"/>
                  </a:lnTo>
                  <a:lnTo>
                    <a:pt x="79045" y="457201"/>
                  </a:lnTo>
                  <a:close/>
                </a:path>
              </a:pathLst>
            </a:custGeom>
            <a:solidFill>
              <a:schemeClr val="accent3">
                <a:lumMod val="7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sp>
          <p:nvSpPr>
            <p:cNvPr id="112" name="Rectangle 111"/>
            <p:cNvSpPr>
              <a:spLocks/>
            </p:cNvSpPr>
            <p:nvPr/>
          </p:nvSpPr>
          <p:spPr>
            <a:xfrm>
              <a:off x="8627056" y="75764"/>
              <a:ext cx="260624" cy="207494"/>
            </a:xfrm>
            <a:prstGeom prst="rect">
              <a:avLst/>
            </a:prstGeom>
            <a:solidFill>
              <a:schemeClr val="bg1">
                <a:lumMod val="9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r>
                <a:rPr lang="es-ES_tradnl" dirty="0"/>
                <a:t>        </a:t>
              </a:r>
            </a:p>
          </p:txBody>
        </p:sp>
        <p:sp>
          <p:nvSpPr>
            <p:cNvPr id="113" name="Freeform 112"/>
            <p:cNvSpPr>
              <a:spLocks/>
            </p:cNvSpPr>
            <p:nvPr>
              <p:custDataLst>
                <p:tags r:id="rId65"/>
              </p:custDataLst>
            </p:nvPr>
          </p:nvSpPr>
          <p:spPr bwMode="auto">
            <a:xfrm>
              <a:off x="7845551" y="323039"/>
              <a:ext cx="1042129" cy="12028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49755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86996 w 1828800"/>
                <a:gd name="connsiteY1" fmla="*/ 0 h 914401"/>
                <a:gd name="connsiteX2" fmla="*/ 1828800 w 1828800"/>
                <a:gd name="connsiteY2" fmla="*/ 457200 h 914401"/>
                <a:gd name="connsiteX3" fmla="*/ 174975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86996 w 1828800"/>
                <a:gd name="connsiteY1" fmla="*/ 0 h 914401"/>
                <a:gd name="connsiteX2" fmla="*/ 1828800 w 1828800"/>
                <a:gd name="connsiteY2" fmla="*/ 457200 h 914401"/>
                <a:gd name="connsiteX3" fmla="*/ 1786996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86996 w 1828800"/>
                <a:gd name="connsiteY1" fmla="*/ 0 h 914401"/>
                <a:gd name="connsiteX2" fmla="*/ 1828800 w 1828800"/>
                <a:gd name="connsiteY2" fmla="*/ 457200 h 914401"/>
                <a:gd name="connsiteX3" fmla="*/ 1786996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92420 w 1828800"/>
                <a:gd name="connsiteY1" fmla="*/ 0 h 914401"/>
                <a:gd name="connsiteX2" fmla="*/ 1828800 w 1828800"/>
                <a:gd name="connsiteY2" fmla="*/ 457200 h 914401"/>
                <a:gd name="connsiteX3" fmla="*/ 1786996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92420 w 1828800"/>
                <a:gd name="connsiteY1" fmla="*/ 0 h 914401"/>
                <a:gd name="connsiteX2" fmla="*/ 1828800 w 1828800"/>
                <a:gd name="connsiteY2" fmla="*/ 457200 h 914401"/>
                <a:gd name="connsiteX3" fmla="*/ 1792420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92420" y="0"/>
                  </a:lnTo>
                  <a:lnTo>
                    <a:pt x="1828800" y="457200"/>
                  </a:lnTo>
                  <a:lnTo>
                    <a:pt x="1792420" y="914401"/>
                  </a:lnTo>
                  <a:lnTo>
                    <a:pt x="0" y="914400"/>
                  </a:lnTo>
                  <a:lnTo>
                    <a:pt x="0" y="457201"/>
                  </a:lnTo>
                  <a:close/>
                </a:path>
              </a:pathLst>
            </a:custGeom>
            <a:solidFill>
              <a:schemeClr val="bg1">
                <a:lumMod val="95000"/>
              </a:schemeClr>
            </a:solidFill>
            <a:ln w="3175" cap="flat" cmpd="sng">
              <a:solidFill>
                <a:schemeClr val="bg1">
                  <a:lumMod val="85000"/>
                </a:schemeClr>
              </a:solidFill>
              <a:prstDash val="solid"/>
              <a:round/>
              <a:headEnd type="none" w="med" len="med"/>
              <a:tailEnd type="none" w="med" len="med"/>
            </a:ln>
            <a:effectLst/>
          </p:spPr>
          <p:txBody>
            <a:bodyPr vert="horz" wrap="none" lIns="91440" tIns="45719" rIns="91440" bIns="45719" numCol="1" anchor="ctr" anchorCtr="0" compatLnSpc="1">
              <a:prstTxWarp prst="textNoShape">
                <a:avLst/>
              </a:prstTxWarp>
            </a:bodyPr>
            <a:lstStyle/>
            <a:p>
              <a:endParaRPr lang="es-ES_tradnl" dirty="0"/>
            </a:p>
          </p:txBody>
        </p:sp>
      </p:grpSp>
      <p:sp>
        <p:nvSpPr>
          <p:cNvPr id="99" name="Oval 98">
            <a:extLst>
              <a:ext uri="{FF2B5EF4-FFF2-40B4-BE49-F238E27FC236}">
                <a16:creationId xmlns:a16="http://schemas.microsoft.com/office/drawing/2014/main" id="{44605692-97C0-4888-B880-ECA53B18A6EC}"/>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393159533"/>
              </p:ext>
            </p:extLst>
          </p:nvPr>
        </p:nvGraphicFramePr>
        <p:xfrm>
          <a:off x="800101" y="2133600"/>
          <a:ext cx="5379841" cy="2659421"/>
        </p:xfrm>
        <a:graphic>
          <a:graphicData uri="http://schemas.openxmlformats.org/presentationml/2006/ole">
            <mc:AlternateContent xmlns:mc="http://schemas.openxmlformats.org/markup-compatibility/2006">
              <mc:Choice xmlns:v="urn:schemas-microsoft-com:vml" Requires="v">
                <p:oleObj spid="_x0000_s136387" name="Chart" r:id="rId72" imgW="5379841" imgH="2659421" progId="MSGraph.Chart.8">
                  <p:embed followColorScheme="full"/>
                </p:oleObj>
              </mc:Choice>
              <mc:Fallback>
                <p:oleObj name="Chart" r:id="rId72" imgW="5379841" imgH="2659421" progId="MSGraph.Chart.8">
                  <p:embed followColorScheme="full"/>
                  <p:pic>
                    <p:nvPicPr>
                      <p:cNvPr id="9" name="Object 8"/>
                      <p:cNvPicPr/>
                      <p:nvPr/>
                    </p:nvPicPr>
                    <p:blipFill>
                      <a:blip r:embed="rId73"/>
                      <a:stretch>
                        <a:fillRect/>
                      </a:stretch>
                    </p:blipFill>
                    <p:spPr>
                      <a:xfrm>
                        <a:off x="800101" y="2133600"/>
                        <a:ext cx="5379841" cy="2659421"/>
                      </a:xfrm>
                      <a:prstGeom prst="rect">
                        <a:avLst/>
                      </a:prstGeom>
                    </p:spPr>
                  </p:pic>
                </p:oleObj>
              </mc:Fallback>
            </mc:AlternateContent>
          </a:graphicData>
        </a:graphic>
      </p:graphicFrame>
      <p:sp>
        <p:nvSpPr>
          <p:cNvPr id="75" name="Text Placeholder 11"/>
          <p:cNvSpPr>
            <a:spLocks noGrp="1"/>
          </p:cNvSpPr>
          <p:nvPr>
            <p:custDataLst>
              <p:tags r:id="rId5"/>
            </p:custDataLst>
          </p:nvPr>
        </p:nvSpPr>
        <p:spPr bwMode="auto">
          <a:xfrm flipV="1">
            <a:off x="5799138"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1A2C584-1697-4A48-B39B-FA8284F2426D}" type="datetime'''''''''''C''''om''''''''''''''p''''a''ñí''a'''''' ''1''''''4'">
              <a:rPr lang="es-ES_tradnl" altLang="en-US" sz="1200"/>
              <a:pPr/>
              <a:t>Compañía 14</a:t>
            </a:fld>
            <a:endParaRPr lang="es-ES_tradnl" sz="1200" dirty="0">
              <a:latin typeface="Arial" panose="020B0604020202020204" pitchFamily="34" charset="0"/>
              <a:sym typeface="Arial" panose="020B0604020202020204" pitchFamily="34" charset="0"/>
            </a:endParaRPr>
          </a:p>
        </p:txBody>
      </p:sp>
      <p:sp>
        <p:nvSpPr>
          <p:cNvPr id="77" name="Text Placeholder 49"/>
          <p:cNvSpPr>
            <a:spLocks noGrp="1"/>
          </p:cNvSpPr>
          <p:nvPr>
            <p:custDataLst>
              <p:tags r:id="rId6"/>
            </p:custDataLst>
          </p:nvPr>
        </p:nvSpPr>
        <p:spPr bwMode="gray">
          <a:xfrm flipV="1">
            <a:off x="5799138" y="4552950"/>
            <a:ext cx="182563" cy="1222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7D8832B-107B-4804-AE2F-1A51706F0CEB}" type="datetime'''''''''''''''''''''''''''''''''''''''''''''''''''''0'''''''">
              <a:rPr lang="es-ES_tradnl" altLang="en-US" sz="1200"/>
              <a:pPr/>
              <a:t>0</a:t>
            </a:fld>
            <a:endParaRPr lang="es-ES_tradnl" sz="1200" dirty="0">
              <a:latin typeface="Arial" panose="020B0604020202020204" pitchFamily="34" charset="0"/>
              <a:sym typeface="Arial" panose="020B0604020202020204" pitchFamily="34" charset="0"/>
            </a:endParaRPr>
          </a:p>
        </p:txBody>
      </p:sp>
      <p:sp>
        <p:nvSpPr>
          <p:cNvPr id="69" name="Text Placeholder 77"/>
          <p:cNvSpPr>
            <a:spLocks noGrp="1"/>
          </p:cNvSpPr>
          <p:nvPr>
            <p:custDataLst>
              <p:tags r:id="rId7"/>
            </p:custDataLst>
          </p:nvPr>
        </p:nvSpPr>
        <p:spPr bwMode="auto">
          <a:xfrm flipV="1">
            <a:off x="5432425"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C7300E5-8745-4F4F-9B22-29843675D4FF}" type="datetime'C''''om''p''''''a''''''ñ''ía'' ''''''1''''''''''''''''3'''''''">
              <a:rPr lang="es-ES_tradnl" altLang="en-US" sz="1200"/>
              <a:pPr/>
              <a:t>Compañía 13</a:t>
            </a:fld>
            <a:endParaRPr lang="es-ES_tradnl" sz="1200" dirty="0">
              <a:latin typeface="Arial" panose="020B0604020202020204" pitchFamily="34" charset="0"/>
              <a:sym typeface="Arial" panose="020B0604020202020204" pitchFamily="34" charset="0"/>
            </a:endParaRPr>
          </a:p>
        </p:txBody>
      </p:sp>
      <p:sp>
        <p:nvSpPr>
          <p:cNvPr id="73" name="Text Placeholder 47"/>
          <p:cNvSpPr>
            <a:spLocks noGrp="1"/>
          </p:cNvSpPr>
          <p:nvPr>
            <p:custDataLst>
              <p:tags r:id="rId8"/>
            </p:custDataLst>
          </p:nvPr>
        </p:nvSpPr>
        <p:spPr bwMode="gray">
          <a:xfrm flipV="1">
            <a:off x="5064125" y="1962151"/>
            <a:ext cx="182563" cy="290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8219A51-B1FE-4DA4-B42F-AE8424FA8088}" type="datetime'''''''''''''''''''''1''''0''''''''''''9'''">
              <a:rPr lang="es-ES_tradnl" altLang="en-US" sz="1200"/>
              <a:pPr/>
              <a:t>109</a:t>
            </a:fld>
            <a:endParaRPr lang="es-ES_tradnl" sz="1200" dirty="0">
              <a:latin typeface="Arial" panose="020B0604020202020204" pitchFamily="34" charset="0"/>
              <a:sym typeface="Arial" panose="020B0604020202020204" pitchFamily="34" charset="0"/>
            </a:endParaRPr>
          </a:p>
        </p:txBody>
      </p:sp>
      <p:sp>
        <p:nvSpPr>
          <p:cNvPr id="81" name="Text Placeholder 72"/>
          <p:cNvSpPr>
            <a:spLocks noGrp="1"/>
          </p:cNvSpPr>
          <p:nvPr>
            <p:custDataLst>
              <p:tags r:id="rId9"/>
            </p:custDataLst>
          </p:nvPr>
        </p:nvSpPr>
        <p:spPr bwMode="auto">
          <a:xfrm flipV="1">
            <a:off x="359568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D660D4C-FD73-48A8-8771-47D6C9B05483}" type="datetime'''''''C''''''''o''''''m''''''''''p''''añ''''''ía'' ''8'''''">
              <a:rPr lang="es-ES_tradnl" altLang="en-US" sz="1200"/>
              <a:pPr/>
              <a:t>Compañía 8</a:t>
            </a:fld>
            <a:endParaRPr lang="es-ES_tradnl" sz="1200" dirty="0">
              <a:latin typeface="Arial" panose="020B0604020202020204" pitchFamily="34" charset="0"/>
              <a:sym typeface="Arial" panose="020B0604020202020204" pitchFamily="34" charset="0"/>
            </a:endParaRPr>
          </a:p>
        </p:txBody>
      </p:sp>
      <p:sp>
        <p:nvSpPr>
          <p:cNvPr id="66" name="Text Placeholder 45"/>
          <p:cNvSpPr>
            <a:spLocks noGrp="1"/>
          </p:cNvSpPr>
          <p:nvPr>
            <p:custDataLst>
              <p:tags r:id="rId10"/>
            </p:custDataLst>
          </p:nvPr>
        </p:nvSpPr>
        <p:spPr bwMode="gray">
          <a:xfrm flipV="1">
            <a:off x="4327525" y="2076450"/>
            <a:ext cx="182563" cy="290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221BD9A-B407-417C-A42F-22616661B9AE}" type="datetime'''''''''''''''1''''''0''''''''''''''''4'''">
              <a:rPr lang="es-ES_tradnl" altLang="en-US" sz="1200"/>
              <a:pPr/>
              <a:t>104</a:t>
            </a:fld>
            <a:endParaRPr lang="es-ES_tradnl" sz="1200" dirty="0">
              <a:latin typeface="Arial" panose="020B0604020202020204" pitchFamily="34" charset="0"/>
              <a:sym typeface="Arial" panose="020B0604020202020204" pitchFamily="34" charset="0"/>
            </a:endParaRPr>
          </a:p>
        </p:txBody>
      </p:sp>
      <p:sp>
        <p:nvSpPr>
          <p:cNvPr id="74" name="Text Placeholder 73"/>
          <p:cNvSpPr>
            <a:spLocks noGrp="1"/>
          </p:cNvSpPr>
          <p:nvPr>
            <p:custDataLst>
              <p:tags r:id="rId11"/>
            </p:custDataLst>
          </p:nvPr>
        </p:nvSpPr>
        <p:spPr bwMode="auto">
          <a:xfrm flipV="1">
            <a:off x="3962400"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FA40F9C-993C-44F6-AB51-0FF72828F13F}" type="datetime'C''''om''p''''a''''''ñí''''''a'''''''''''''''''''''''''' 9'">
              <a:rPr lang="es-ES_tradnl" altLang="en-US" sz="1200"/>
              <a:pPr/>
              <a:t>Compañía 9</a:t>
            </a:fld>
            <a:endParaRPr lang="es-ES_tradnl" sz="1200" dirty="0">
              <a:latin typeface="Arial" panose="020B0604020202020204" pitchFamily="34" charset="0"/>
              <a:sym typeface="Arial" panose="020B0604020202020204" pitchFamily="34" charset="0"/>
            </a:endParaRPr>
          </a:p>
        </p:txBody>
      </p:sp>
      <p:sp>
        <p:nvSpPr>
          <p:cNvPr id="62" name="Text Placeholder 48"/>
          <p:cNvSpPr>
            <a:spLocks noGrp="1"/>
          </p:cNvSpPr>
          <p:nvPr>
            <p:custDataLst>
              <p:tags r:id="rId12"/>
            </p:custDataLst>
          </p:nvPr>
        </p:nvSpPr>
        <p:spPr bwMode="gray">
          <a:xfrm flipV="1">
            <a:off x="5432425" y="4552950"/>
            <a:ext cx="182563" cy="1222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E91E178-90A5-4493-A54F-CA049FE7D1FE}" type="datetime'''''''0'''''''''">
              <a:rPr lang="es-ES_tradnl" altLang="en-US" sz="1200"/>
              <a:pPr/>
              <a:t>0</a:t>
            </a:fld>
            <a:endParaRPr lang="es-ES_tradnl" sz="1200" dirty="0">
              <a:latin typeface="Arial" panose="020B0604020202020204" pitchFamily="34" charset="0"/>
              <a:sym typeface="Arial" panose="020B0604020202020204" pitchFamily="34" charset="0"/>
            </a:endParaRPr>
          </a:p>
        </p:txBody>
      </p:sp>
      <p:sp>
        <p:nvSpPr>
          <p:cNvPr id="63" name="Text Placeholder 44"/>
          <p:cNvSpPr>
            <a:spLocks noGrp="1"/>
          </p:cNvSpPr>
          <p:nvPr>
            <p:custDataLst>
              <p:tags r:id="rId13"/>
            </p:custDataLst>
          </p:nvPr>
        </p:nvSpPr>
        <p:spPr bwMode="gray">
          <a:xfrm flipV="1">
            <a:off x="3962400" y="2090738"/>
            <a:ext cx="182563" cy="290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8EC37C7-30A6-4322-B8B6-A6DC59EF53B2}" type="datetime'''1''''0''''''3'''''''''''''''''''''''''''''''">
              <a:rPr lang="es-ES_tradnl" altLang="en-US" sz="1200"/>
              <a:pPr/>
              <a:t>103</a:t>
            </a:fld>
            <a:endParaRPr lang="es-ES_tradnl" sz="1200" dirty="0">
              <a:latin typeface="Arial" panose="020B0604020202020204" pitchFamily="34" charset="0"/>
              <a:sym typeface="Arial" panose="020B0604020202020204" pitchFamily="34" charset="0"/>
            </a:endParaRPr>
          </a:p>
        </p:txBody>
      </p:sp>
      <p:sp>
        <p:nvSpPr>
          <p:cNvPr id="82" name="Text Placeholder 41"/>
          <p:cNvSpPr>
            <a:spLocks noGrp="1"/>
          </p:cNvSpPr>
          <p:nvPr>
            <p:custDataLst>
              <p:tags r:id="rId14"/>
            </p:custDataLst>
          </p:nvPr>
        </p:nvSpPr>
        <p:spPr bwMode="gray">
          <a:xfrm flipV="1">
            <a:off x="2857500" y="2289175"/>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31EFC5F-2DCE-4212-858E-E3445B736628}" type="datetime'9''''''''8'''''''''''''''''''''''''''''''''''''">
              <a:rPr lang="es-ES_tradnl" altLang="en-US" sz="1200"/>
              <a:pPr/>
              <a:t>98</a:t>
            </a:fld>
            <a:endParaRPr lang="es-ES_tradnl" sz="1200" dirty="0">
              <a:latin typeface="Arial" panose="020B0604020202020204" pitchFamily="34" charset="0"/>
              <a:sym typeface="Arial" panose="020B0604020202020204" pitchFamily="34" charset="0"/>
            </a:endParaRPr>
          </a:p>
        </p:txBody>
      </p:sp>
      <p:sp>
        <p:nvSpPr>
          <p:cNvPr id="84" name="Text Placeholder 39"/>
          <p:cNvSpPr>
            <a:spLocks noGrp="1"/>
          </p:cNvSpPr>
          <p:nvPr>
            <p:custDataLst>
              <p:tags r:id="rId15"/>
            </p:custDataLst>
          </p:nvPr>
        </p:nvSpPr>
        <p:spPr bwMode="gray">
          <a:xfrm flipV="1">
            <a:off x="2125663" y="2320925"/>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69648D0-E481-4AA3-A07B-5F5DDEBCA26D}" type="datetime'''''''''''''''''''''''''''9''7'''''''''''''''''''''''''''''">
              <a:rPr lang="es-ES_tradnl" altLang="en-US" sz="1200"/>
              <a:pPr/>
              <a:t>97</a:t>
            </a:fld>
            <a:endParaRPr lang="es-ES_tradnl" sz="1200" dirty="0">
              <a:latin typeface="Arial" panose="020B0604020202020204" pitchFamily="34" charset="0"/>
              <a:sym typeface="Arial" panose="020B0604020202020204" pitchFamily="34" charset="0"/>
            </a:endParaRPr>
          </a:p>
        </p:txBody>
      </p:sp>
      <p:sp>
        <p:nvSpPr>
          <p:cNvPr id="80" name="Text Placeholder 71"/>
          <p:cNvSpPr>
            <a:spLocks noGrp="1"/>
          </p:cNvSpPr>
          <p:nvPr>
            <p:custDataLst>
              <p:tags r:id="rId16"/>
            </p:custDataLst>
          </p:nvPr>
        </p:nvSpPr>
        <p:spPr bwMode="auto">
          <a:xfrm flipV="1">
            <a:off x="2857500"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8AE4F71-6511-49BE-8F77-BAD8DB31AA7C}" type="datetime'''''''C''''o''''m''''''''''''''p''''''''''''''a''ñ''ía 6'''''">
              <a:rPr lang="es-ES_tradnl" altLang="en-US" sz="1200"/>
              <a:pPr/>
              <a:t>Compañía 6</a:t>
            </a:fld>
            <a:endParaRPr lang="es-ES_tradnl" sz="1200" dirty="0">
              <a:latin typeface="Arial" panose="020B0604020202020204" pitchFamily="34" charset="0"/>
              <a:sym typeface="Arial" panose="020B0604020202020204" pitchFamily="34" charset="0"/>
            </a:endParaRPr>
          </a:p>
        </p:txBody>
      </p:sp>
      <p:sp>
        <p:nvSpPr>
          <p:cNvPr id="87" name="Text Placeholder 156"/>
          <p:cNvSpPr>
            <a:spLocks noGrp="1"/>
          </p:cNvSpPr>
          <p:nvPr>
            <p:custDataLst>
              <p:tags r:id="rId17"/>
            </p:custDataLst>
          </p:nvPr>
        </p:nvSpPr>
        <p:spPr bwMode="auto">
          <a:xfrm flipV="1">
            <a:off x="2125663"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162E8EB-9A5B-44AC-BD6D-03FBF1DE552F}" type="datetime'''C''''''o''m''p''''''''''''''''''''''''''a''''''ñ''ía'' ''4'">
              <a:rPr lang="es-ES_tradnl" altLang="en-US" sz="1200"/>
              <a:pPr/>
              <a:t>Compañía 4</a:t>
            </a:fld>
            <a:endParaRPr lang="es-ES_tradnl" sz="1200" dirty="0">
              <a:latin typeface="Arial" panose="020B0604020202020204" pitchFamily="34" charset="0"/>
              <a:sym typeface="Arial" panose="020B0604020202020204" pitchFamily="34" charset="0"/>
            </a:endParaRPr>
          </a:p>
        </p:txBody>
      </p:sp>
      <p:sp>
        <p:nvSpPr>
          <p:cNvPr id="21" name="Text Placeholder 35"/>
          <p:cNvSpPr>
            <a:spLocks noGrp="1"/>
          </p:cNvSpPr>
          <p:nvPr>
            <p:custDataLst>
              <p:tags r:id="rId18"/>
            </p:custDataLst>
          </p:nvPr>
        </p:nvSpPr>
        <p:spPr bwMode="gray">
          <a:xfrm flipV="1">
            <a:off x="1020763" y="2625725"/>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0DC164A-AFB0-42D7-9BFD-B3CCC59A0904}" type="datetime'''''''''''''''''''''''''8''''''''''''''''''''''''''''3'''">
              <a:rPr lang="es-ES_tradnl" altLang="en-US" sz="1200"/>
              <a:pPr/>
              <a:t>83</a:t>
            </a:fld>
            <a:endParaRPr lang="es-ES_tradnl" sz="1200" dirty="0">
              <a:latin typeface="Arial" panose="020B0604020202020204" pitchFamily="34" charset="0"/>
              <a:sym typeface="Arial" panose="020B0604020202020204" pitchFamily="34" charset="0"/>
            </a:endParaRPr>
          </a:p>
        </p:txBody>
      </p:sp>
      <p:sp>
        <p:nvSpPr>
          <p:cNvPr id="60" name="Text Placeholder 46"/>
          <p:cNvSpPr>
            <a:spLocks noGrp="1"/>
          </p:cNvSpPr>
          <p:nvPr>
            <p:custDataLst>
              <p:tags r:id="rId19"/>
            </p:custDataLst>
          </p:nvPr>
        </p:nvSpPr>
        <p:spPr bwMode="gray">
          <a:xfrm flipV="1">
            <a:off x="4694238" y="2030413"/>
            <a:ext cx="182563" cy="290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BD2DF18-1522-4B53-AE3C-B702027F15E5}" type="datetime'''''''''''''''''''10''''''''6'''''''''''''''">
              <a:rPr lang="es-ES_tradnl" altLang="en-US" sz="1200"/>
              <a:pPr/>
              <a:t>106</a:t>
            </a:fld>
            <a:endParaRPr lang="es-ES_tradnl" sz="1200" dirty="0">
              <a:latin typeface="Arial" panose="020B0604020202020204" pitchFamily="34" charset="0"/>
              <a:sym typeface="Arial" panose="020B0604020202020204" pitchFamily="34" charset="0"/>
            </a:endParaRPr>
          </a:p>
        </p:txBody>
      </p:sp>
      <p:sp>
        <p:nvSpPr>
          <p:cNvPr id="65" name="Text Placeholder 38"/>
          <p:cNvSpPr>
            <a:spLocks noGrp="1"/>
          </p:cNvSpPr>
          <p:nvPr>
            <p:custDataLst>
              <p:tags r:id="rId20"/>
            </p:custDataLst>
          </p:nvPr>
        </p:nvSpPr>
        <p:spPr bwMode="gray">
          <a:xfrm flipV="1">
            <a:off x="1757363" y="2343150"/>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994A6AA-8306-404E-AEBE-6BFDBAB11D92}" type="datetime'''''''''''''''9''''''''''''''''''''''''''''''''''''''6'''''">
              <a:rPr lang="es-ES_tradnl" altLang="en-US" sz="1200"/>
              <a:pPr/>
              <a:t>96</a:t>
            </a:fld>
            <a:endParaRPr lang="es-ES_tradnl" sz="1200" dirty="0">
              <a:latin typeface="Arial" panose="020B0604020202020204" pitchFamily="34" charset="0"/>
              <a:sym typeface="Arial" panose="020B0604020202020204" pitchFamily="34" charset="0"/>
            </a:endParaRPr>
          </a:p>
        </p:txBody>
      </p:sp>
      <p:sp>
        <p:nvSpPr>
          <p:cNvPr id="61" name="Text Placeholder 74"/>
          <p:cNvSpPr>
            <a:spLocks noGrp="1"/>
          </p:cNvSpPr>
          <p:nvPr>
            <p:custDataLst>
              <p:tags r:id="rId21"/>
            </p:custDataLst>
          </p:nvPr>
        </p:nvSpPr>
        <p:spPr bwMode="auto">
          <a:xfrm flipV="1">
            <a:off x="4327525"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480B96C-D58A-433B-A06A-F986E5A0FA2F}" type="datetime'''''''''''''''''''''''''Com''''''''''pañí''''a ''10'''">
              <a:rPr lang="es-ES_tradnl" altLang="en-US" sz="1200"/>
              <a:pPr/>
              <a:t>Compañía 10</a:t>
            </a:fld>
            <a:endParaRPr lang="es-ES_tradnl" sz="1200" dirty="0">
              <a:latin typeface="Arial" panose="020B0604020202020204" pitchFamily="34" charset="0"/>
              <a:sym typeface="Arial" panose="020B0604020202020204" pitchFamily="34" charset="0"/>
            </a:endParaRPr>
          </a:p>
        </p:txBody>
      </p:sp>
      <p:sp>
        <p:nvSpPr>
          <p:cNvPr id="64" name="Text Placeholder 16"/>
          <p:cNvSpPr>
            <a:spLocks noGrp="1"/>
          </p:cNvSpPr>
          <p:nvPr>
            <p:custDataLst>
              <p:tags r:id="rId22"/>
            </p:custDataLst>
          </p:nvPr>
        </p:nvSpPr>
        <p:spPr bwMode="auto">
          <a:xfrm flipV="1">
            <a:off x="322738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F580C4A-5B35-4091-A457-489ECAB18420}" type="datetime'''''''''C''''''o''mpa''ñ''''''''''''''''''''í''''''a ''''7'''">
              <a:rPr lang="es-ES_tradnl" altLang="en-US" sz="1200"/>
              <a:pPr/>
              <a:t>Compañía 7</a:t>
            </a:fld>
            <a:endParaRPr lang="es-ES_tradnl" sz="1200" dirty="0">
              <a:latin typeface="Arial" panose="020B0604020202020204" pitchFamily="34" charset="0"/>
              <a:sym typeface="Arial" panose="020B0604020202020204" pitchFamily="34" charset="0"/>
            </a:endParaRPr>
          </a:p>
        </p:txBody>
      </p:sp>
      <p:sp>
        <p:nvSpPr>
          <p:cNvPr id="85" name="Text Placeholder 63"/>
          <p:cNvSpPr>
            <a:spLocks noGrp="1"/>
          </p:cNvSpPr>
          <p:nvPr>
            <p:custDataLst>
              <p:tags r:id="rId23"/>
            </p:custDataLst>
          </p:nvPr>
        </p:nvSpPr>
        <p:spPr bwMode="auto">
          <a:xfrm flipV="1">
            <a:off x="1757363"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E254334-18A8-4795-807A-2FF20B8BC319}" type="datetime'''C''''''omp''a''''''''ñí''''a'''''' ''''''''''3'''''">
              <a:rPr lang="es-ES_tradnl" altLang="en-US" sz="1200"/>
              <a:pPr/>
              <a:t>Compañía 3</a:t>
            </a:fld>
            <a:endParaRPr lang="es-ES_tradnl" sz="1200" dirty="0">
              <a:sym typeface="+mn-lt"/>
            </a:endParaRPr>
          </a:p>
        </p:txBody>
      </p:sp>
      <p:sp>
        <p:nvSpPr>
          <p:cNvPr id="72" name="Text Placeholder 76"/>
          <p:cNvSpPr>
            <a:spLocks noGrp="1"/>
          </p:cNvSpPr>
          <p:nvPr>
            <p:custDataLst>
              <p:tags r:id="rId24"/>
            </p:custDataLst>
          </p:nvPr>
        </p:nvSpPr>
        <p:spPr bwMode="auto">
          <a:xfrm flipV="1">
            <a:off x="5064125"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1BB04E2-DCE3-489B-8210-C14926CF81B6}" type="datetime'C''''''''''''''o''''''''mpa''''ñ''''ía'' ''''''''''1''''2'''">
              <a:rPr lang="es-ES_tradnl" altLang="en-US" sz="1200"/>
              <a:pPr/>
              <a:t>Compañía 12</a:t>
            </a:fld>
            <a:endParaRPr lang="es-ES_tradnl" sz="1200" dirty="0">
              <a:latin typeface="Arial" panose="020B0604020202020204" pitchFamily="34" charset="0"/>
              <a:sym typeface="Arial" panose="020B0604020202020204" pitchFamily="34" charset="0"/>
            </a:endParaRPr>
          </a:p>
        </p:txBody>
      </p:sp>
      <p:sp>
        <p:nvSpPr>
          <p:cNvPr id="83" name="Text Placeholder 40"/>
          <p:cNvSpPr>
            <a:spLocks noGrp="1"/>
          </p:cNvSpPr>
          <p:nvPr>
            <p:custDataLst>
              <p:tags r:id="rId25"/>
            </p:custDataLst>
          </p:nvPr>
        </p:nvSpPr>
        <p:spPr bwMode="gray">
          <a:xfrm flipV="1">
            <a:off x="2490788" y="2320925"/>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11D53AA-2DD5-4465-800B-8E7B7561B4F0}" type="datetime'''''''''''''9''''''''''''''7'''''''''''''''''">
              <a:rPr lang="es-ES_tradnl" altLang="en-US" sz="1200"/>
              <a:pPr/>
              <a:t>97</a:t>
            </a:fld>
            <a:endParaRPr lang="es-ES_tradnl" sz="1200" dirty="0">
              <a:latin typeface="Arial" panose="020B0604020202020204" pitchFamily="34" charset="0"/>
              <a:sym typeface="Arial" panose="020B0604020202020204" pitchFamily="34" charset="0"/>
            </a:endParaRPr>
          </a:p>
        </p:txBody>
      </p:sp>
      <p:sp>
        <p:nvSpPr>
          <p:cNvPr id="22" name="Text Placeholder 36"/>
          <p:cNvSpPr>
            <a:spLocks noGrp="1"/>
          </p:cNvSpPr>
          <p:nvPr>
            <p:custDataLst>
              <p:tags r:id="rId26"/>
            </p:custDataLst>
          </p:nvPr>
        </p:nvSpPr>
        <p:spPr bwMode="gray">
          <a:xfrm flipV="1">
            <a:off x="1385888" y="2365375"/>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0584A8F-B7C3-4714-A328-784F9315DC43}" type="datetime'''9''''''5'''''''''''''''''''''''''''''''''''''''''''''''''">
              <a:rPr lang="es-ES_tradnl" altLang="en-US" sz="1200"/>
              <a:pPr/>
              <a:t>95</a:t>
            </a:fld>
            <a:endParaRPr lang="es-ES_tradnl" sz="1200" dirty="0">
              <a:latin typeface="Arial" panose="020B0604020202020204" pitchFamily="34" charset="0"/>
              <a:sym typeface="Arial" panose="020B0604020202020204" pitchFamily="34" charset="0"/>
            </a:endParaRPr>
          </a:p>
        </p:txBody>
      </p:sp>
      <p:sp>
        <p:nvSpPr>
          <p:cNvPr id="103" name="Text Placeholder 2"/>
          <p:cNvSpPr>
            <a:spLocks noGrp="1"/>
          </p:cNvSpPr>
          <p:nvPr>
            <p:custDataLst>
              <p:tags r:id="rId27"/>
            </p:custDataLst>
          </p:nvPr>
        </p:nvSpPr>
        <p:spPr bwMode="gray">
          <a:xfrm flipV="1">
            <a:off x="3595688" y="2122488"/>
            <a:ext cx="182563" cy="290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2EB396A-A2F4-499B-83FE-1F6F05C9F0EB}" type="datetime'1''''''''''''''''''''''0''''''''''''''''''''''''''''''''''''2'">
              <a:rPr lang="es-ES_tradnl" altLang="en-US" sz="1200"/>
              <a:pPr/>
              <a:t>102</a:t>
            </a:fld>
            <a:endParaRPr lang="es-ES_tradnl" sz="1200" dirty="0">
              <a:sym typeface="+mn-lt"/>
            </a:endParaRPr>
          </a:p>
        </p:txBody>
      </p:sp>
      <p:sp>
        <p:nvSpPr>
          <p:cNvPr id="86" name="Text Placeholder 62"/>
          <p:cNvSpPr>
            <a:spLocks noGrp="1"/>
          </p:cNvSpPr>
          <p:nvPr>
            <p:custDataLst>
              <p:tags r:id="rId28"/>
            </p:custDataLst>
          </p:nvPr>
        </p:nvSpPr>
        <p:spPr bwMode="auto">
          <a:xfrm flipV="1">
            <a:off x="138588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ECD8ACB-B513-48C9-B23D-451405326CB6}" type="datetime'''C''o''m''''''''p''''''a''ñí''a ''''''''''''2'''''''">
              <a:rPr lang="es-ES_tradnl" altLang="en-US" sz="1200"/>
              <a:pPr/>
              <a:t>Compañía 2</a:t>
            </a:fld>
            <a:endParaRPr lang="es-ES_tradnl" sz="1200" dirty="0">
              <a:sym typeface="+mn-lt"/>
            </a:endParaRPr>
          </a:p>
        </p:txBody>
      </p:sp>
      <p:sp>
        <p:nvSpPr>
          <p:cNvPr id="20" name="Text Placeholder 100"/>
          <p:cNvSpPr>
            <a:spLocks noGrp="1"/>
          </p:cNvSpPr>
          <p:nvPr>
            <p:custDataLst>
              <p:tags r:id="rId29"/>
            </p:custDataLst>
          </p:nvPr>
        </p:nvSpPr>
        <p:spPr bwMode="auto">
          <a:xfrm flipV="1">
            <a:off x="1020763"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6832B79-61A4-4384-B00C-C8533304B5D1}" type="datetime'''C''''''o''''m''''''p''''''''a''''ñía ''''''''''''1'''">
              <a:rPr lang="es-ES_tradnl" altLang="en-US" sz="1200"/>
              <a:pPr/>
              <a:t>Compañía 1</a:t>
            </a:fld>
            <a:endParaRPr lang="es-ES_tradnl" sz="1200" dirty="0">
              <a:latin typeface="Arial" panose="020B0604020202020204" pitchFamily="34" charset="0"/>
              <a:sym typeface="Arial" panose="020B0604020202020204" pitchFamily="34" charset="0"/>
            </a:endParaRPr>
          </a:p>
        </p:txBody>
      </p:sp>
      <p:sp>
        <p:nvSpPr>
          <p:cNvPr id="79" name="Text Placeholder 42"/>
          <p:cNvSpPr>
            <a:spLocks noGrp="1"/>
          </p:cNvSpPr>
          <p:nvPr>
            <p:custDataLst>
              <p:tags r:id="rId30"/>
            </p:custDataLst>
          </p:nvPr>
        </p:nvSpPr>
        <p:spPr bwMode="gray">
          <a:xfrm flipV="1">
            <a:off x="3227388" y="2266950"/>
            <a:ext cx="182563" cy="206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7BF44F4-3B8E-404A-A80D-379575C2DB21}" type="datetime'''''''''''9''''''''''''''''''''''''''9'''''''''''''''''''">
              <a:rPr lang="es-ES_tradnl" altLang="en-US" sz="1200"/>
              <a:pPr/>
              <a:t>99</a:t>
            </a:fld>
            <a:endParaRPr lang="es-ES_tradnl" sz="1200" dirty="0">
              <a:latin typeface="Arial" panose="020B0604020202020204" pitchFamily="34" charset="0"/>
              <a:sym typeface="Arial" panose="020B0604020202020204" pitchFamily="34" charset="0"/>
            </a:endParaRPr>
          </a:p>
        </p:txBody>
      </p:sp>
      <p:sp>
        <p:nvSpPr>
          <p:cNvPr id="59" name="Text Placeholder 70"/>
          <p:cNvSpPr>
            <a:spLocks noGrp="1"/>
          </p:cNvSpPr>
          <p:nvPr>
            <p:custDataLst>
              <p:tags r:id="rId31"/>
            </p:custDataLst>
          </p:nvPr>
        </p:nvSpPr>
        <p:spPr bwMode="auto">
          <a:xfrm flipV="1">
            <a:off x="249078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ltLang="en-US" sz="1200" dirty="0"/>
              <a:t>Compañía 5</a:t>
            </a:r>
            <a:endParaRPr lang="es-ES_tradnl" sz="1200" dirty="0">
              <a:latin typeface="Arial" panose="020B0604020202020204" pitchFamily="34" charset="0"/>
              <a:sym typeface="Arial" panose="020B0604020202020204" pitchFamily="34" charset="0"/>
            </a:endParaRPr>
          </a:p>
        </p:txBody>
      </p:sp>
      <p:sp>
        <p:nvSpPr>
          <p:cNvPr id="70" name="Text Placeholder 75"/>
          <p:cNvSpPr>
            <a:spLocks noGrp="1"/>
          </p:cNvSpPr>
          <p:nvPr>
            <p:custDataLst>
              <p:tags r:id="rId32"/>
            </p:custDataLst>
          </p:nvPr>
        </p:nvSpPr>
        <p:spPr bwMode="auto">
          <a:xfrm flipV="1">
            <a:off x="4694238" y="4800600"/>
            <a:ext cx="182563" cy="9001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6278198-9676-483A-9514-B9B6D9AC1764}" type="datetime'''''''C''''o''''''m''''pañ''í''''''''''a ''''''11'''''''''">
              <a:rPr lang="es-ES_tradnl" altLang="en-US" sz="1200"/>
              <a:pPr/>
              <a:t>Compañía 11</a:t>
            </a:fld>
            <a:endParaRPr lang="es-ES_tradnl" sz="1200" dirty="0">
              <a:latin typeface="Arial" panose="020B0604020202020204" pitchFamily="34" charset="0"/>
              <a:sym typeface="Arial" panose="020B0604020202020204" pitchFamily="34" charset="0"/>
            </a:endParaRPr>
          </a:p>
        </p:txBody>
      </p:sp>
      <p:graphicFrame>
        <p:nvGraphicFramePr>
          <p:cNvPr id="41" name="Object 40"/>
          <p:cNvGraphicFramePr>
            <a:graphicFrameLocks/>
          </p:cNvGraphicFramePr>
          <p:nvPr>
            <p:custDataLst>
              <p:tags r:id="rId33"/>
            </p:custDataLst>
            <p:extLst>
              <p:ext uri="{D42A27DB-BD31-4B8C-83A1-F6EECF244321}">
                <p14:modId xmlns:p14="http://schemas.microsoft.com/office/powerpoint/2010/main" val="332554229"/>
              </p:ext>
            </p:extLst>
          </p:nvPr>
        </p:nvGraphicFramePr>
        <p:xfrm>
          <a:off x="6438900" y="2133600"/>
          <a:ext cx="5235111" cy="2659421"/>
        </p:xfrm>
        <a:graphic>
          <a:graphicData uri="http://schemas.openxmlformats.org/presentationml/2006/ole">
            <mc:AlternateContent xmlns:mc="http://schemas.openxmlformats.org/markup-compatibility/2006">
              <mc:Choice xmlns:v="urn:schemas-microsoft-com:vml" Requires="v">
                <p:oleObj spid="_x0000_s136388" name="Chart" r:id="rId74" imgW="5235111" imgH="2659421" progId="MSGraph.Chart.8">
                  <p:embed followColorScheme="full"/>
                </p:oleObj>
              </mc:Choice>
              <mc:Fallback>
                <p:oleObj name="Chart" r:id="rId74" imgW="5235111" imgH="2659421" progId="MSGraph.Chart.8">
                  <p:embed followColorScheme="full"/>
                  <p:pic>
                    <p:nvPicPr>
                      <p:cNvPr id="41" name="Object 40"/>
                      <p:cNvPicPr/>
                      <p:nvPr/>
                    </p:nvPicPr>
                    <p:blipFill>
                      <a:blip r:embed="rId75"/>
                      <a:stretch>
                        <a:fillRect/>
                      </a:stretch>
                    </p:blipFill>
                    <p:spPr>
                      <a:xfrm>
                        <a:off x="6438900" y="2133600"/>
                        <a:ext cx="5235111" cy="2659421"/>
                      </a:xfrm>
                      <a:prstGeom prst="rect">
                        <a:avLst/>
                      </a:prstGeom>
                    </p:spPr>
                  </p:pic>
                </p:oleObj>
              </mc:Fallback>
            </mc:AlternateContent>
          </a:graphicData>
        </a:graphic>
      </p:graphicFrame>
      <p:sp>
        <p:nvSpPr>
          <p:cNvPr id="49" name="Text Placeholder 62"/>
          <p:cNvSpPr>
            <a:spLocks noGrp="1"/>
          </p:cNvSpPr>
          <p:nvPr>
            <p:custDataLst>
              <p:tags r:id="rId34"/>
            </p:custDataLst>
          </p:nvPr>
        </p:nvSpPr>
        <p:spPr bwMode="auto">
          <a:xfrm flipV="1">
            <a:off x="6994525"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2CA8D9F-DBFF-4D2E-B991-7F6EA23A90C3}" type="datetime'C''''''om''''''''''''''''''''pañ''''í''''''''a'''''''' 2'''''">
              <a:rPr lang="es-ES_tradnl" altLang="en-US" sz="1200"/>
              <a:pPr/>
              <a:t>Compañía 2</a:t>
            </a:fld>
            <a:endParaRPr lang="es-ES_tradnl" sz="1200" dirty="0">
              <a:sym typeface="+mn-lt"/>
            </a:endParaRPr>
          </a:p>
        </p:txBody>
      </p:sp>
      <p:sp>
        <p:nvSpPr>
          <p:cNvPr id="45" name="Text Placeholder 36"/>
          <p:cNvSpPr>
            <a:spLocks noGrp="1"/>
          </p:cNvSpPr>
          <p:nvPr>
            <p:custDataLst>
              <p:tags r:id="rId35"/>
            </p:custDataLst>
          </p:nvPr>
        </p:nvSpPr>
        <p:spPr bwMode="gray">
          <a:xfrm flipV="1">
            <a:off x="6994525" y="2605088"/>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5F2970E-EEB0-4DCB-8959-21D0F1F73C68}" type="datetime'''8''''''''''5''.''9'''''''''''''''''''''''''''''''''''">
              <a:rPr lang="es-ES_tradnl" altLang="en-US" sz="1200"/>
              <a:pPr/>
              <a:t>85.9</a:t>
            </a:fld>
            <a:endParaRPr lang="es-ES_tradnl" sz="1200" dirty="0">
              <a:latin typeface="Arial" panose="020B0604020202020204" pitchFamily="34" charset="0"/>
              <a:sym typeface="Arial" panose="020B0604020202020204" pitchFamily="34" charset="0"/>
            </a:endParaRPr>
          </a:p>
        </p:txBody>
      </p:sp>
      <p:sp>
        <p:nvSpPr>
          <p:cNvPr id="50" name="Text Placeholder 35"/>
          <p:cNvSpPr>
            <a:spLocks noGrp="1"/>
          </p:cNvSpPr>
          <p:nvPr>
            <p:custDataLst>
              <p:tags r:id="rId36"/>
            </p:custDataLst>
          </p:nvPr>
        </p:nvSpPr>
        <p:spPr bwMode="gray">
          <a:xfrm flipV="1">
            <a:off x="6637338" y="2657475"/>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1D04CE6-9402-4F30-BA21-9FEDDADCC49F}" type="datetime'''''''''''''''''''8''''''''''''''3''''''''''.''''''2'''''">
              <a:rPr lang="es-ES_tradnl" altLang="en-US" sz="1200"/>
              <a:pPr/>
              <a:t>83.2</a:t>
            </a:fld>
            <a:endParaRPr lang="es-ES_tradnl" sz="1200" dirty="0">
              <a:latin typeface="Arial" panose="020B0604020202020204" pitchFamily="34" charset="0"/>
              <a:sym typeface="Arial" panose="020B0604020202020204" pitchFamily="34" charset="0"/>
            </a:endParaRPr>
          </a:p>
        </p:txBody>
      </p:sp>
      <p:sp>
        <p:nvSpPr>
          <p:cNvPr id="67" name="Text Placeholder 43"/>
          <p:cNvSpPr>
            <a:spLocks noGrp="1"/>
          </p:cNvSpPr>
          <p:nvPr>
            <p:custDataLst>
              <p:tags r:id="rId37"/>
            </p:custDataLst>
          </p:nvPr>
        </p:nvSpPr>
        <p:spPr bwMode="gray">
          <a:xfrm flipV="1">
            <a:off x="9144000" y="21859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BC530D7-603E-4497-9370-63B2552ECEA6}" type="datetime'1''''''''''''''''''''''''''0''''''''''''2''''.''7'''''">
              <a:rPr lang="es-ES_tradnl" altLang="en-US" sz="1200"/>
              <a:pPr/>
              <a:t>102.7</a:t>
            </a:fld>
            <a:endParaRPr lang="es-ES_tradnl" sz="1200" dirty="0">
              <a:latin typeface="Arial" panose="020B0604020202020204" pitchFamily="34" charset="0"/>
              <a:sym typeface="Arial" panose="020B0604020202020204" pitchFamily="34" charset="0"/>
            </a:endParaRPr>
          </a:p>
        </p:txBody>
      </p:sp>
      <p:sp>
        <p:nvSpPr>
          <p:cNvPr id="51" name="Text Placeholder 100"/>
          <p:cNvSpPr>
            <a:spLocks noGrp="1"/>
          </p:cNvSpPr>
          <p:nvPr>
            <p:custDataLst>
              <p:tags r:id="rId38"/>
            </p:custDataLst>
          </p:nvPr>
        </p:nvSpPr>
        <p:spPr bwMode="auto">
          <a:xfrm flipV="1">
            <a:off x="663733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B935093-1A0C-454A-A8D1-29E1B9B1FA19}" type="datetime'''''''''''Co''m''''pa''ñ''í''a ''''''''''''1'''''''''">
              <a:rPr lang="es-ES_tradnl" altLang="en-US" sz="1200"/>
              <a:pPr/>
              <a:t>Compañía 1</a:t>
            </a:fld>
            <a:endParaRPr lang="es-ES_tradnl" sz="1200" dirty="0">
              <a:latin typeface="Arial" panose="020B0604020202020204" pitchFamily="34" charset="0"/>
              <a:sym typeface="Arial" panose="020B0604020202020204" pitchFamily="34" charset="0"/>
            </a:endParaRPr>
          </a:p>
        </p:txBody>
      </p:sp>
      <p:sp>
        <p:nvSpPr>
          <p:cNvPr id="55" name="Text Placeholder 74"/>
          <p:cNvSpPr>
            <a:spLocks noGrp="1"/>
          </p:cNvSpPr>
          <p:nvPr>
            <p:custDataLst>
              <p:tags r:id="rId39"/>
            </p:custDataLst>
          </p:nvPr>
        </p:nvSpPr>
        <p:spPr bwMode="auto">
          <a:xfrm flipV="1">
            <a:off x="9859963"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1741857-3ADB-4433-B186-681E3B58E805}" type="datetime'C''''''''o''m''''''p''''''''''a''''''''ñía'' ''''1''''''''0'''">
              <a:rPr lang="es-ES_tradnl" altLang="en-US" sz="1200"/>
              <a:pPr/>
              <a:t>Compañía 10</a:t>
            </a:fld>
            <a:endParaRPr lang="es-ES_tradnl" sz="1200" dirty="0">
              <a:latin typeface="Arial" panose="020B0604020202020204" pitchFamily="34" charset="0"/>
              <a:sym typeface="Arial" panose="020B0604020202020204" pitchFamily="34" charset="0"/>
            </a:endParaRPr>
          </a:p>
        </p:txBody>
      </p:sp>
      <p:sp>
        <p:nvSpPr>
          <p:cNvPr id="96" name="Text Placeholder 71"/>
          <p:cNvSpPr>
            <a:spLocks noGrp="1"/>
          </p:cNvSpPr>
          <p:nvPr>
            <p:custDataLst>
              <p:tags r:id="rId40"/>
            </p:custDataLst>
          </p:nvPr>
        </p:nvSpPr>
        <p:spPr bwMode="auto">
          <a:xfrm flipV="1">
            <a:off x="842803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2D5B1CD-0FFE-49D3-B4B4-2577BF186499}" type="datetime'''''Co''''m''p''''''a''''ñ''''í''''''''''''a ''6'''''">
              <a:rPr lang="es-ES_tradnl" altLang="en-US" sz="1200"/>
              <a:pPr/>
              <a:t>Compañía 6</a:t>
            </a:fld>
            <a:endParaRPr lang="es-ES_tradnl" sz="1200" dirty="0">
              <a:latin typeface="Arial" panose="020B0604020202020204" pitchFamily="34" charset="0"/>
              <a:sym typeface="Arial" panose="020B0604020202020204" pitchFamily="34" charset="0"/>
            </a:endParaRPr>
          </a:p>
        </p:txBody>
      </p:sp>
      <p:sp>
        <p:nvSpPr>
          <p:cNvPr id="46" name="Text Placeholder 41"/>
          <p:cNvSpPr>
            <a:spLocks noGrp="1"/>
          </p:cNvSpPr>
          <p:nvPr>
            <p:custDataLst>
              <p:tags r:id="rId41"/>
            </p:custDataLst>
          </p:nvPr>
        </p:nvSpPr>
        <p:spPr bwMode="gray">
          <a:xfrm flipV="1">
            <a:off x="8428038" y="2200275"/>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AEE267E-D787-42D0-9622-377AE890A25D}" type="datetime'''''''''''''''10''''''''''''2''''''''''''''.''0'''">
              <a:rPr lang="es-ES_tradnl" altLang="en-US" sz="1200"/>
              <a:pPr/>
              <a:t>102.0</a:t>
            </a:fld>
            <a:endParaRPr lang="es-ES_tradnl" sz="1200" dirty="0">
              <a:latin typeface="Arial" panose="020B0604020202020204" pitchFamily="34" charset="0"/>
              <a:sym typeface="Arial" panose="020B0604020202020204" pitchFamily="34" charset="0"/>
            </a:endParaRPr>
          </a:p>
        </p:txBody>
      </p:sp>
      <p:sp>
        <p:nvSpPr>
          <p:cNvPr id="52" name="Text Placeholder 39"/>
          <p:cNvSpPr>
            <a:spLocks noGrp="1"/>
          </p:cNvSpPr>
          <p:nvPr>
            <p:custDataLst>
              <p:tags r:id="rId42"/>
            </p:custDataLst>
          </p:nvPr>
        </p:nvSpPr>
        <p:spPr bwMode="gray">
          <a:xfrm flipV="1">
            <a:off x="7710488" y="2376488"/>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4F3C9CE-7370-4981-8AD0-89E7B157FB9E}" type="datetime'''''''''''''''''''''''''''9''''''''''''''''''7''''''.4'">
              <a:rPr lang="es-ES_tradnl" altLang="en-US" sz="1200"/>
              <a:pPr/>
              <a:t>97.4</a:t>
            </a:fld>
            <a:endParaRPr lang="es-ES_tradnl" sz="1200" dirty="0">
              <a:latin typeface="Arial" panose="020B0604020202020204" pitchFamily="34" charset="0"/>
              <a:sym typeface="Arial" panose="020B0604020202020204" pitchFamily="34" charset="0"/>
            </a:endParaRPr>
          </a:p>
        </p:txBody>
      </p:sp>
      <p:sp>
        <p:nvSpPr>
          <p:cNvPr id="57" name="Text Placeholder 73"/>
          <p:cNvSpPr>
            <a:spLocks noGrp="1"/>
          </p:cNvSpPr>
          <p:nvPr>
            <p:custDataLst>
              <p:tags r:id="rId43"/>
            </p:custDataLst>
          </p:nvPr>
        </p:nvSpPr>
        <p:spPr bwMode="auto">
          <a:xfrm flipV="1">
            <a:off x="950118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A95E041-CE7A-4D06-8AB9-688C80169522}" type="datetime'C''''om''p''añ''''''''''í''''a'''''' ''''''9'''''''''''''">
              <a:rPr lang="es-ES_tradnl" altLang="en-US" sz="1200"/>
              <a:pPr/>
              <a:t>Compañía 9</a:t>
            </a:fld>
            <a:endParaRPr lang="es-ES_tradnl" sz="1200" dirty="0">
              <a:latin typeface="Arial" panose="020B0604020202020204" pitchFamily="34" charset="0"/>
              <a:sym typeface="Arial" panose="020B0604020202020204" pitchFamily="34" charset="0"/>
            </a:endParaRPr>
          </a:p>
        </p:txBody>
      </p:sp>
      <p:sp>
        <p:nvSpPr>
          <p:cNvPr id="58" name="Text Placeholder 72"/>
          <p:cNvSpPr>
            <a:spLocks noGrp="1"/>
          </p:cNvSpPr>
          <p:nvPr>
            <p:custDataLst>
              <p:tags r:id="rId44"/>
            </p:custDataLst>
          </p:nvPr>
        </p:nvSpPr>
        <p:spPr bwMode="auto">
          <a:xfrm flipV="1">
            <a:off x="9144000"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s-ES_tradnl" altLang="en-US" sz="1200" dirty="0"/>
              <a:t>Compañía 8</a:t>
            </a:r>
            <a:endParaRPr lang="es-ES_tradnl" sz="1200" dirty="0">
              <a:latin typeface="Arial" panose="020B0604020202020204" pitchFamily="34" charset="0"/>
              <a:sym typeface="Arial" panose="020B0604020202020204" pitchFamily="34" charset="0"/>
            </a:endParaRPr>
          </a:p>
        </p:txBody>
      </p:sp>
      <p:sp>
        <p:nvSpPr>
          <p:cNvPr id="56" name="Text Placeholder 45"/>
          <p:cNvSpPr>
            <a:spLocks noGrp="1"/>
          </p:cNvSpPr>
          <p:nvPr>
            <p:custDataLst>
              <p:tags r:id="rId45"/>
            </p:custDataLst>
          </p:nvPr>
        </p:nvSpPr>
        <p:spPr bwMode="gray">
          <a:xfrm flipV="1">
            <a:off x="9859963" y="210978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0015A87-0815-48B0-ADC8-76F2FD63A02E}" type="datetime'''''1''''''''06''''.''''4'''''''''">
              <a:rPr lang="es-ES_tradnl" altLang="en-US" sz="1200"/>
              <a:pPr/>
              <a:t>106.4</a:t>
            </a:fld>
            <a:endParaRPr lang="es-ES_tradnl" sz="1200" dirty="0">
              <a:latin typeface="Arial" panose="020B0604020202020204" pitchFamily="34" charset="0"/>
              <a:sym typeface="Arial" panose="020B0604020202020204" pitchFamily="34" charset="0"/>
            </a:endParaRPr>
          </a:p>
        </p:txBody>
      </p:sp>
      <p:sp>
        <p:nvSpPr>
          <p:cNvPr id="68" name="Text Placeholder 16"/>
          <p:cNvSpPr>
            <a:spLocks noGrp="1"/>
          </p:cNvSpPr>
          <p:nvPr>
            <p:custDataLst>
              <p:tags r:id="rId46"/>
            </p:custDataLst>
          </p:nvPr>
        </p:nvSpPr>
        <p:spPr bwMode="auto">
          <a:xfrm flipV="1">
            <a:off x="8785225"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9DA855C-AAF0-4846-845A-F4216894E92D}" type="datetime'''''''Com''''''''pa''''''ñ''''''ía'''''''''''''''' ''7'''''''">
              <a:rPr lang="es-ES_tradnl" altLang="en-US" sz="1200"/>
              <a:pPr/>
              <a:t>Compañía 7</a:t>
            </a:fld>
            <a:endParaRPr lang="es-ES_tradnl" sz="1200" dirty="0">
              <a:latin typeface="Arial" panose="020B0604020202020204" pitchFamily="34" charset="0"/>
              <a:sym typeface="Arial" panose="020B0604020202020204" pitchFamily="34" charset="0"/>
            </a:endParaRPr>
          </a:p>
        </p:txBody>
      </p:sp>
      <p:sp>
        <p:nvSpPr>
          <p:cNvPr id="76" name="Text Placeholder 42"/>
          <p:cNvSpPr>
            <a:spLocks noGrp="1"/>
          </p:cNvSpPr>
          <p:nvPr>
            <p:custDataLst>
              <p:tags r:id="rId47"/>
            </p:custDataLst>
          </p:nvPr>
        </p:nvSpPr>
        <p:spPr bwMode="gray">
          <a:xfrm flipV="1">
            <a:off x="8785225" y="219233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15EB201-128E-4F8C-9F98-A8CB8AA243C8}" type="datetime'''''''1''''0''''''2.''''''''''''''''4'''''''''''''''''">
              <a:rPr lang="es-ES_tradnl" altLang="en-US" sz="1200"/>
              <a:pPr/>
              <a:t>102.4</a:t>
            </a:fld>
            <a:endParaRPr lang="es-ES_tradnl" sz="1200" dirty="0">
              <a:latin typeface="Arial" panose="020B0604020202020204" pitchFamily="34" charset="0"/>
              <a:sym typeface="Arial" panose="020B0604020202020204" pitchFamily="34" charset="0"/>
            </a:endParaRPr>
          </a:p>
        </p:txBody>
      </p:sp>
      <p:sp>
        <p:nvSpPr>
          <p:cNvPr id="71" name="Text Placeholder 44"/>
          <p:cNvSpPr>
            <a:spLocks noGrp="1"/>
          </p:cNvSpPr>
          <p:nvPr>
            <p:custDataLst>
              <p:tags r:id="rId48"/>
            </p:custDataLst>
          </p:nvPr>
        </p:nvSpPr>
        <p:spPr bwMode="gray">
          <a:xfrm flipV="1">
            <a:off x="9501188" y="2116138"/>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5F9FC27-ACCD-4D12-BA28-2F358CB54694}" type="datetime'''''''''''1''''''''''''''0''''''''6''''''''.''1'''''''''''''''">
              <a:rPr lang="es-ES_tradnl" altLang="en-US" sz="1200"/>
              <a:pPr/>
              <a:t>106.1</a:t>
            </a:fld>
            <a:endParaRPr lang="es-ES_tradnl" sz="1200" dirty="0">
              <a:latin typeface="Arial" panose="020B0604020202020204" pitchFamily="34" charset="0"/>
              <a:sym typeface="Arial" panose="020B0604020202020204" pitchFamily="34" charset="0"/>
            </a:endParaRPr>
          </a:p>
        </p:txBody>
      </p:sp>
      <p:sp>
        <p:nvSpPr>
          <p:cNvPr id="43" name="Text Placeholder 70"/>
          <p:cNvSpPr>
            <a:spLocks noGrp="1"/>
          </p:cNvSpPr>
          <p:nvPr>
            <p:custDataLst>
              <p:tags r:id="rId49"/>
            </p:custDataLst>
          </p:nvPr>
        </p:nvSpPr>
        <p:spPr bwMode="auto">
          <a:xfrm flipV="1">
            <a:off x="8069263"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037E2EB-7120-48B2-BC0A-B5973AD10A6F}" type="datetime'''''''Co''''''''''''''''''''mpañí''''''''''a'' ''''''5'''''">
              <a:rPr lang="es-ES_tradnl" altLang="en-US" sz="1200"/>
              <a:pPr/>
              <a:t>Compañía 5</a:t>
            </a:fld>
            <a:endParaRPr lang="es-ES_tradnl" sz="1200" dirty="0">
              <a:latin typeface="Arial" panose="020B0604020202020204" pitchFamily="34" charset="0"/>
              <a:sym typeface="Arial" panose="020B0604020202020204" pitchFamily="34" charset="0"/>
            </a:endParaRPr>
          </a:p>
        </p:txBody>
      </p:sp>
      <p:sp>
        <p:nvSpPr>
          <p:cNvPr id="44" name="Text Placeholder 40"/>
          <p:cNvSpPr>
            <a:spLocks noGrp="1"/>
          </p:cNvSpPr>
          <p:nvPr>
            <p:custDataLst>
              <p:tags r:id="rId50"/>
            </p:custDataLst>
          </p:nvPr>
        </p:nvSpPr>
        <p:spPr bwMode="gray">
          <a:xfrm flipV="1">
            <a:off x="8069263" y="2360613"/>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0A5BE98-8936-40C1-B639-B3B99F4BB068}" type="datetime'''''''''''''''''''''''''''''''''''''''''9''''''8''''''.''''2'">
              <a:rPr lang="es-ES_tradnl" altLang="en-US" sz="1200"/>
              <a:pPr/>
              <a:t>98.2</a:t>
            </a:fld>
            <a:endParaRPr lang="es-ES_tradnl" sz="1200" dirty="0">
              <a:latin typeface="Arial" panose="020B0604020202020204" pitchFamily="34" charset="0"/>
              <a:sym typeface="Arial" panose="020B0604020202020204" pitchFamily="34" charset="0"/>
            </a:endParaRPr>
          </a:p>
        </p:txBody>
      </p:sp>
      <p:sp>
        <p:nvSpPr>
          <p:cNvPr id="47" name="Text Placeholder 156"/>
          <p:cNvSpPr>
            <a:spLocks noGrp="1"/>
          </p:cNvSpPr>
          <p:nvPr>
            <p:custDataLst>
              <p:tags r:id="rId51"/>
            </p:custDataLst>
          </p:nvPr>
        </p:nvSpPr>
        <p:spPr bwMode="auto">
          <a:xfrm flipV="1">
            <a:off x="7710488"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2E01AF9-1FE4-44A4-8497-558708FDE006}" type="datetime'''C''''o''''''mp''''a''ñ''''''''''í''''a'''''''' 4'''''''">
              <a:rPr lang="es-ES_tradnl" altLang="en-US" sz="1200"/>
              <a:pPr/>
              <a:t>Compañía 4</a:t>
            </a:fld>
            <a:endParaRPr lang="es-ES_tradnl" sz="1200" dirty="0">
              <a:latin typeface="Arial" panose="020B0604020202020204" pitchFamily="34" charset="0"/>
              <a:sym typeface="Arial" panose="020B0604020202020204" pitchFamily="34" charset="0"/>
            </a:endParaRPr>
          </a:p>
        </p:txBody>
      </p:sp>
      <p:sp>
        <p:nvSpPr>
          <p:cNvPr id="48" name="Text Placeholder 63"/>
          <p:cNvSpPr>
            <a:spLocks noGrp="1"/>
          </p:cNvSpPr>
          <p:nvPr>
            <p:custDataLst>
              <p:tags r:id="rId52"/>
            </p:custDataLst>
          </p:nvPr>
        </p:nvSpPr>
        <p:spPr bwMode="auto">
          <a:xfrm flipV="1">
            <a:off x="7353300" y="4873625"/>
            <a:ext cx="182563" cy="827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FAC9395-B63F-438C-8C74-061676B70725}" type="datetime'C''o''''''''''''''''''''''m''''''p''''añ''''''''í''a ''''3'''">
              <a:rPr lang="es-ES_tradnl" altLang="en-US" sz="1200"/>
              <a:pPr/>
              <a:t>Compañía 3</a:t>
            </a:fld>
            <a:endParaRPr lang="es-ES_tradnl" sz="1200" dirty="0">
              <a:sym typeface="+mn-lt"/>
            </a:endParaRPr>
          </a:p>
        </p:txBody>
      </p:sp>
      <p:sp>
        <p:nvSpPr>
          <p:cNvPr id="42" name="Text Placeholder 38"/>
          <p:cNvSpPr>
            <a:spLocks noGrp="1"/>
          </p:cNvSpPr>
          <p:nvPr>
            <p:custDataLst>
              <p:tags r:id="rId53"/>
            </p:custDataLst>
          </p:nvPr>
        </p:nvSpPr>
        <p:spPr bwMode="gray">
          <a:xfrm flipV="1">
            <a:off x="7353300" y="2422525"/>
            <a:ext cx="182563" cy="3333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E7AF8EC-B71B-4E3E-AF04-B55F199D4DB7}" type="datetime'''''9''''''''4''''''''''''''''.''''''''9'''''''''">
              <a:rPr lang="es-ES_tradnl" altLang="en-US" sz="1200"/>
              <a:pPr/>
              <a:t>94.9</a:t>
            </a:fld>
            <a:endParaRPr lang="es-ES_tradnl" sz="1200" dirty="0">
              <a:latin typeface="Arial" panose="020B0604020202020204" pitchFamily="34" charset="0"/>
              <a:sym typeface="Arial" panose="020B0604020202020204" pitchFamily="34" charset="0"/>
            </a:endParaRPr>
          </a:p>
        </p:txBody>
      </p:sp>
      <p:sp>
        <p:nvSpPr>
          <p:cNvPr id="54" name="Text Placeholder 49"/>
          <p:cNvSpPr>
            <a:spLocks noGrp="1"/>
          </p:cNvSpPr>
          <p:nvPr>
            <p:custDataLst>
              <p:tags r:id="rId54"/>
            </p:custDataLst>
          </p:nvPr>
        </p:nvSpPr>
        <p:spPr bwMode="gray">
          <a:xfrm flipV="1">
            <a:off x="11291888" y="4552950"/>
            <a:ext cx="182563" cy="1222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085BB0A-F863-4DB8-9E16-2B8EF5B55F68}" type="datetime'''''''''''''''''''''''''''''''''''''''0'''''''''''''''''''''''">
              <a:rPr lang="es-ES_tradnl" altLang="en-US" sz="1200"/>
              <a:pPr/>
              <a:t>0</a:t>
            </a:fld>
            <a:endParaRPr lang="es-ES_tradnl" sz="1200" dirty="0">
              <a:latin typeface="Arial" panose="020B0604020202020204" pitchFamily="34" charset="0"/>
              <a:sym typeface="Arial" panose="020B0604020202020204" pitchFamily="34" charset="0"/>
            </a:endParaRPr>
          </a:p>
        </p:txBody>
      </p:sp>
      <p:sp>
        <p:nvSpPr>
          <p:cNvPr id="91" name="Text Placeholder 11"/>
          <p:cNvSpPr>
            <a:spLocks noGrp="1"/>
          </p:cNvSpPr>
          <p:nvPr>
            <p:custDataLst>
              <p:tags r:id="rId55"/>
            </p:custDataLst>
          </p:nvPr>
        </p:nvSpPr>
        <p:spPr bwMode="auto">
          <a:xfrm flipV="1">
            <a:off x="11291888"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96F8093-C957-4232-ACF9-74D156AACB99}" type="datetime'C''''o''''mp''''a''ñ''''í''''''a'' ''''''''''''''''''''1''''4'">
              <a:rPr lang="es-ES_tradnl" altLang="en-US" sz="1200"/>
              <a:pPr/>
              <a:t>Compañía 14</a:t>
            </a:fld>
            <a:endParaRPr lang="es-ES_tradnl" sz="1200" dirty="0">
              <a:latin typeface="Arial" panose="020B0604020202020204" pitchFamily="34" charset="0"/>
              <a:sym typeface="Arial" panose="020B0604020202020204" pitchFamily="34" charset="0"/>
            </a:endParaRPr>
          </a:p>
        </p:txBody>
      </p:sp>
      <p:sp>
        <p:nvSpPr>
          <p:cNvPr id="92" name="Text Placeholder 77"/>
          <p:cNvSpPr>
            <a:spLocks noGrp="1"/>
          </p:cNvSpPr>
          <p:nvPr>
            <p:custDataLst>
              <p:tags r:id="rId56"/>
            </p:custDataLst>
          </p:nvPr>
        </p:nvSpPr>
        <p:spPr bwMode="auto">
          <a:xfrm flipV="1">
            <a:off x="10934700"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AE141A0-F80D-44D8-B8E7-0CA6A6128401}" type="datetime'Com''''p''''añ''''í''''a'''''''' 1''''''''''3'''''">
              <a:rPr lang="es-ES_tradnl" altLang="en-US" sz="1200"/>
              <a:pPr/>
              <a:t>Compañía 13</a:t>
            </a:fld>
            <a:endParaRPr lang="es-ES_tradnl" sz="1200" dirty="0">
              <a:latin typeface="Arial" panose="020B0604020202020204" pitchFamily="34" charset="0"/>
              <a:sym typeface="Arial" panose="020B0604020202020204" pitchFamily="34" charset="0"/>
            </a:endParaRPr>
          </a:p>
        </p:txBody>
      </p:sp>
      <p:sp>
        <p:nvSpPr>
          <p:cNvPr id="93" name="Text Placeholder 48"/>
          <p:cNvSpPr>
            <a:spLocks noGrp="1"/>
          </p:cNvSpPr>
          <p:nvPr>
            <p:custDataLst>
              <p:tags r:id="rId57"/>
            </p:custDataLst>
          </p:nvPr>
        </p:nvSpPr>
        <p:spPr bwMode="gray">
          <a:xfrm flipV="1">
            <a:off x="10934700" y="4552950"/>
            <a:ext cx="182563" cy="12223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FAAFEA9-43E6-4C81-B880-C42037400A2B}" type="datetime'''''''''''''''''''''''''0'''''''''''''''''''''">
              <a:rPr lang="es-ES_tradnl" altLang="en-US" sz="1200"/>
              <a:pPr/>
              <a:t>0</a:t>
            </a:fld>
            <a:endParaRPr lang="es-ES_tradnl" sz="1200" dirty="0">
              <a:latin typeface="Arial" panose="020B0604020202020204" pitchFamily="34" charset="0"/>
              <a:sym typeface="Arial" panose="020B0604020202020204" pitchFamily="34" charset="0"/>
            </a:endParaRPr>
          </a:p>
        </p:txBody>
      </p:sp>
      <p:sp>
        <p:nvSpPr>
          <p:cNvPr id="53" name="Text Placeholder 75"/>
          <p:cNvSpPr>
            <a:spLocks noGrp="1"/>
          </p:cNvSpPr>
          <p:nvPr>
            <p:custDataLst>
              <p:tags r:id="rId58"/>
            </p:custDataLst>
          </p:nvPr>
        </p:nvSpPr>
        <p:spPr bwMode="auto">
          <a:xfrm flipV="1">
            <a:off x="10218738" y="4800600"/>
            <a:ext cx="182563" cy="9001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1658AB9-9166-4095-BD44-2356BD0571F4}" type="datetime'''''''''C''''o''''''m''p''''''añ''''''''í''''a'' 11'''">
              <a:rPr lang="es-ES_tradnl" altLang="en-US" sz="1200"/>
              <a:pPr/>
              <a:t>Compañía 11</a:t>
            </a:fld>
            <a:endParaRPr lang="es-ES_tradnl" sz="1200" dirty="0">
              <a:latin typeface="Arial" panose="020B0604020202020204" pitchFamily="34" charset="0"/>
              <a:sym typeface="Arial" panose="020B0604020202020204" pitchFamily="34" charset="0"/>
            </a:endParaRPr>
          </a:p>
        </p:txBody>
      </p:sp>
      <p:sp>
        <p:nvSpPr>
          <p:cNvPr id="94" name="Text Placeholder 76"/>
          <p:cNvSpPr>
            <a:spLocks noGrp="1"/>
          </p:cNvSpPr>
          <p:nvPr>
            <p:custDataLst>
              <p:tags r:id="rId59"/>
            </p:custDataLst>
          </p:nvPr>
        </p:nvSpPr>
        <p:spPr bwMode="auto">
          <a:xfrm flipV="1">
            <a:off x="10575925" y="4789488"/>
            <a:ext cx="182563" cy="9112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FB67E3F-862C-4381-AC49-F2F3969D33F3}" type="datetime'''''C''o''''''''m''''''p''''''a''''ñ''''''''''''''ía ''1''''2'">
              <a:rPr lang="es-ES_tradnl" altLang="en-US" sz="1200"/>
              <a:pPr/>
              <a:t>Compañía 12</a:t>
            </a:fld>
            <a:endParaRPr lang="es-ES_tradnl" sz="1200" dirty="0">
              <a:latin typeface="Arial" panose="020B0604020202020204" pitchFamily="34" charset="0"/>
              <a:sym typeface="Arial" panose="020B0604020202020204" pitchFamily="34" charset="0"/>
            </a:endParaRPr>
          </a:p>
        </p:txBody>
      </p:sp>
      <p:sp>
        <p:nvSpPr>
          <p:cNvPr id="95" name="Text Placeholder 47"/>
          <p:cNvSpPr>
            <a:spLocks noGrp="1"/>
          </p:cNvSpPr>
          <p:nvPr>
            <p:custDataLst>
              <p:tags r:id="rId60"/>
            </p:custDataLst>
          </p:nvPr>
        </p:nvSpPr>
        <p:spPr bwMode="gray">
          <a:xfrm flipV="1">
            <a:off x="10575925" y="1835154"/>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BE0A939-AD27-4AC8-B11D-592BACDB432E}" type="datetime'''''''''''''''''''''''''''''''''''''''12''0''.''''''''''''''0'">
              <a:rPr lang="es-ES_tradnl" altLang="en-US" sz="1200"/>
              <a:pPr/>
              <a:t>120.0</a:t>
            </a:fld>
            <a:endParaRPr lang="es-ES_tradnl" sz="1200" dirty="0">
              <a:latin typeface="Arial" panose="020B0604020202020204" pitchFamily="34" charset="0"/>
              <a:sym typeface="Arial" panose="020B0604020202020204" pitchFamily="34" charset="0"/>
            </a:endParaRPr>
          </a:p>
        </p:txBody>
      </p:sp>
      <p:sp>
        <p:nvSpPr>
          <p:cNvPr id="90" name="Text Placeholder 46"/>
          <p:cNvSpPr>
            <a:spLocks noGrp="1"/>
          </p:cNvSpPr>
          <p:nvPr>
            <p:custDataLst>
              <p:tags r:id="rId61"/>
            </p:custDataLst>
          </p:nvPr>
        </p:nvSpPr>
        <p:spPr bwMode="gray">
          <a:xfrm flipV="1">
            <a:off x="10218738" y="2101850"/>
            <a:ext cx="182563" cy="4175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19050" rIns="0" bIns="1905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8F37E65-9E9D-459B-9CE9-59AC190C19B8}" type="datetime'''''''''10''''''''''6''.''''''''''''''7'''''''">
              <a:rPr lang="es-ES_tradnl" altLang="en-US" sz="1200"/>
              <a:pPr/>
              <a:t>106.7</a:t>
            </a:fld>
            <a:endParaRPr lang="es-ES_tradnl" sz="1200" dirty="0">
              <a:latin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26472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5BB1B-5DEE-43AE-9D6C-660DB9C82070}"/>
              </a:ext>
            </a:extLst>
          </p:cNvPr>
          <p:cNvSpPr>
            <a:spLocks noGrp="1"/>
          </p:cNvSpPr>
          <p:nvPr>
            <p:ph type="title"/>
          </p:nvPr>
        </p:nvSpPr>
        <p:spPr>
          <a:xfrm>
            <a:off x="739141" y="353603"/>
            <a:ext cx="9560662" cy="615553"/>
          </a:xfrm>
        </p:spPr>
        <p:txBody>
          <a:bodyPr/>
          <a:lstStyle/>
          <a:p>
            <a:r>
              <a:rPr lang="es-CO" dirty="0"/>
              <a:t>El rápido crecimiento de la población urbana ha generado que los precios de vivienda crezcan de forma acelerada</a:t>
            </a:r>
          </a:p>
        </p:txBody>
      </p:sp>
      <p:sp>
        <p:nvSpPr>
          <p:cNvPr id="3" name="TextBox 2">
            <a:extLst>
              <a:ext uri="{FF2B5EF4-FFF2-40B4-BE49-F238E27FC236}">
                <a16:creationId xmlns:a16="http://schemas.microsoft.com/office/drawing/2014/main" id="{12D919BE-EB68-4422-B52C-4FE86760ACE1}"/>
              </a:ext>
            </a:extLst>
          </p:cNvPr>
          <p:cNvSpPr txBox="1"/>
          <p:nvPr/>
        </p:nvSpPr>
        <p:spPr>
          <a:xfrm>
            <a:off x="1745172" y="2135690"/>
            <a:ext cx="4750725" cy="246221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r>
              <a:rPr lang="es-CO" b="1" dirty="0"/>
              <a:t>65 Millones de personas se mudan cada año a las ciudades</a:t>
            </a:r>
            <a:r>
              <a:rPr lang="es-CO" dirty="0"/>
              <a:t>, generando un estrés en la demanda de vivienda</a:t>
            </a:r>
          </a:p>
          <a:p>
            <a:pPr lvl="1"/>
            <a:endParaRPr lang="es-CO" dirty="0"/>
          </a:p>
          <a:p>
            <a:pPr lvl="1"/>
            <a:r>
              <a:rPr lang="es-CO" dirty="0"/>
              <a:t>En 1950 había 2 ciudades en el mundo con más de 10 millones de habitantes, </a:t>
            </a:r>
            <a:r>
              <a:rPr lang="es-CO" b="1" dirty="0"/>
              <a:t>hoy hay 20</a:t>
            </a:r>
          </a:p>
          <a:p>
            <a:pPr lvl="1"/>
            <a:endParaRPr lang="es-CO" dirty="0"/>
          </a:p>
          <a:p>
            <a:pPr lvl="1"/>
            <a:r>
              <a:rPr lang="es-CO" dirty="0"/>
              <a:t>El </a:t>
            </a:r>
            <a:r>
              <a:rPr lang="es-CO" dirty="0" err="1"/>
              <a:t>MGI</a:t>
            </a:r>
            <a:r>
              <a:rPr lang="es-CO" dirty="0"/>
              <a:t> de McKinsey hizo un estudio para entender los factores que pueden desbloquear la vivienda asequible</a:t>
            </a:r>
          </a:p>
        </p:txBody>
      </p:sp>
      <p:pic>
        <p:nvPicPr>
          <p:cNvPr id="6" name="Picture 5">
            <a:extLst>
              <a:ext uri="{FF2B5EF4-FFF2-40B4-BE49-F238E27FC236}">
                <a16:creationId xmlns:a16="http://schemas.microsoft.com/office/drawing/2014/main" id="{0789DE0D-309E-4C79-9088-1D1037E1F1D7}"/>
              </a:ext>
            </a:extLst>
          </p:cNvPr>
          <p:cNvPicPr>
            <a:picLocks noChangeAspect="1"/>
          </p:cNvPicPr>
          <p:nvPr/>
        </p:nvPicPr>
        <p:blipFill>
          <a:blip r:embed="rId3"/>
          <a:stretch>
            <a:fillRect/>
          </a:stretch>
        </p:blipFill>
        <p:spPr>
          <a:xfrm>
            <a:off x="7337161" y="1297057"/>
            <a:ext cx="3225987" cy="4640592"/>
          </a:xfrm>
          <a:prstGeom prst="rect">
            <a:avLst/>
          </a:prstGeom>
        </p:spPr>
      </p:pic>
    </p:spTree>
    <p:extLst>
      <p:ext uri="{BB962C8B-B14F-4D97-AF65-F5344CB8AC3E}">
        <p14:creationId xmlns:p14="http://schemas.microsoft.com/office/powerpoint/2010/main" val="342832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08034376"/>
              </p:ext>
            </p:ext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144396"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495426" y="1589"/>
                        <a:ext cx="1587" cy="1587"/>
                      </a:xfrm>
                      <a:prstGeom prst="rect">
                        <a:avLst/>
                      </a:prstGeom>
                    </p:spPr>
                  </p:pic>
                </p:oleObj>
              </mc:Fallback>
            </mc:AlternateContent>
          </a:graphicData>
        </a:graphic>
      </p:graphicFrame>
      <p:grpSp>
        <p:nvGrpSpPr>
          <p:cNvPr id="58" name="Group 57"/>
          <p:cNvGrpSpPr/>
          <p:nvPr/>
        </p:nvGrpSpPr>
        <p:grpSpPr>
          <a:xfrm>
            <a:off x="1622195" y="1003687"/>
            <a:ext cx="8704722" cy="5342987"/>
            <a:chOff x="128358" y="677567"/>
            <a:chExt cx="8704722" cy="5511161"/>
          </a:xfrm>
        </p:grpSpPr>
        <p:sp>
          <p:nvSpPr>
            <p:cNvPr id="59" name="Rectangle 2"/>
            <p:cNvSpPr>
              <a:spLocks noChangeArrowheads="1"/>
            </p:cNvSpPr>
            <p:nvPr/>
          </p:nvSpPr>
          <p:spPr bwMode="gray">
            <a:xfrm>
              <a:off x="128358" y="677567"/>
              <a:ext cx="8704722" cy="5511161"/>
            </a:xfrm>
            <a:prstGeom prst="rect">
              <a:avLst/>
            </a:prstGeom>
            <a:solidFill>
              <a:schemeClr val="bg1"/>
            </a:solidFill>
            <a:ln w="9525" algn="ctr">
              <a:solidFill>
                <a:schemeClr val="accent2"/>
              </a:solidFill>
              <a:miter lim="800000"/>
              <a:headEnd/>
              <a:tailEnd/>
            </a:ln>
            <a:effectLst>
              <a:outerShdw dist="53340" dir="2700000" algn="tl" rotWithShape="0">
                <a:schemeClr val="tx1">
                  <a:alpha val="8000"/>
                </a:schemeClr>
              </a:outerShdw>
            </a:effectLst>
          </p:spPr>
          <p:txBody>
            <a:bodyPr vert="horz" wrap="square" lIns="91440" tIns="45720" rIns="91440" bIns="45720" numCol="1" anchor="t" anchorCtr="0" compatLnSpc="1">
              <a:prstTxWarp prst="textNoShape">
                <a:avLst/>
              </a:prstTxWarp>
            </a:bodyPr>
            <a:lstStyle/>
            <a:p>
              <a:endParaRPr lang="es-CO" sz="1300" dirty="0"/>
            </a:p>
          </p:txBody>
        </p:sp>
        <p:sp>
          <p:nvSpPr>
            <p:cNvPr id="60" name="Rectangle 7"/>
            <p:cNvSpPr>
              <a:spLocks noChangeArrowheads="1"/>
            </p:cNvSpPr>
            <p:nvPr/>
          </p:nvSpPr>
          <p:spPr bwMode="auto">
            <a:xfrm>
              <a:off x="1438219" y="777654"/>
              <a:ext cx="7267162" cy="5308022"/>
            </a:xfrm>
            <a:prstGeom prst="rect">
              <a:avLst/>
            </a:prstGeom>
            <a:gradFill rotWithShape="1">
              <a:gsLst>
                <a:gs pos="0">
                  <a:srgbClr val="DDDDDD">
                    <a:alpha val="50000"/>
                  </a:srgbClr>
                </a:gs>
                <a:gs pos="100000">
                  <a:schemeClr val="bg1">
                    <a:alpha val="0"/>
                  </a:schemeClr>
                </a:gs>
              </a:gsLst>
              <a:lin ang="5400000" scaled="1"/>
            </a:gradFill>
            <a:ln>
              <a:noFill/>
            </a:ln>
            <a:effectLst/>
            <a:extLst/>
          </p:spPr>
          <p:txBody>
            <a:bodyPr vert="horz" wrap="none" lIns="91440" tIns="45720" rIns="91440" bIns="45720" numCol="1" anchor="ctr" anchorCtr="0" compatLnSpc="1">
              <a:prstTxWarp prst="textNoShape">
                <a:avLst/>
              </a:prstTxWarp>
            </a:bodyPr>
            <a:lstStyle/>
            <a:p>
              <a:endParaRPr lang="es-CO" dirty="0"/>
            </a:p>
          </p:txBody>
        </p:sp>
        <p:sp>
          <p:nvSpPr>
            <p:cNvPr id="62" name="Rectangle 53"/>
            <p:cNvSpPr txBox="1">
              <a:spLocks/>
            </p:cNvSpPr>
            <p:nvPr/>
          </p:nvSpPr>
          <p:spPr>
            <a:xfrm>
              <a:off x="1588408" y="3658743"/>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Mano de obra informal, sin nivel de estudios, inestable, carente de profesionalismo y una falta de disponibilidad de mano de obra calificada en algunas partes del país </a:t>
              </a:r>
            </a:p>
          </p:txBody>
        </p:sp>
        <p:sp>
          <p:nvSpPr>
            <p:cNvPr id="63" name="Rectangle 53"/>
            <p:cNvSpPr txBox="1">
              <a:spLocks/>
            </p:cNvSpPr>
            <p:nvPr/>
          </p:nvSpPr>
          <p:spPr>
            <a:xfrm>
              <a:off x="1588408" y="4213431"/>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Falta de estandarización en toda la cadena de valor que afecta la calidad, aumenta costos de supervisión y post-ventas</a:t>
              </a:r>
            </a:p>
          </p:txBody>
        </p:sp>
        <p:sp>
          <p:nvSpPr>
            <p:cNvPr id="64" name="Rectangle 53"/>
            <p:cNvSpPr txBox="1">
              <a:spLocks/>
            </p:cNvSpPr>
            <p:nvPr/>
          </p:nvSpPr>
          <p:spPr>
            <a:xfrm>
              <a:off x="1588408" y="4768118"/>
              <a:ext cx="7116973" cy="2081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Muchos reprocesos durante la obra por falta de planeación y sincronización de los ejecutores</a:t>
              </a:r>
            </a:p>
          </p:txBody>
        </p:sp>
        <p:sp>
          <p:nvSpPr>
            <p:cNvPr id="65" name="Rectangle 53"/>
            <p:cNvSpPr txBox="1">
              <a:spLocks/>
            </p:cNvSpPr>
            <p:nvPr/>
          </p:nvSpPr>
          <p:spPr>
            <a:xfrm>
              <a:off x="1588408" y="5114628"/>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Falta de gobierno corporativo y gestión de riesgos sólida de las empresas y proveedores del sector</a:t>
              </a:r>
            </a:p>
          </p:txBody>
        </p:sp>
        <p:sp>
          <p:nvSpPr>
            <p:cNvPr id="66" name="Rectangle 53"/>
            <p:cNvSpPr txBox="1">
              <a:spLocks/>
            </p:cNvSpPr>
            <p:nvPr/>
          </p:nvSpPr>
          <p:spPr>
            <a:xfrm>
              <a:off x="1588408" y="5669320"/>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Falta de innovación: Se construye de forma muy similar que hace 40 años, muy artesanal y con pocas nuevas tecnologías</a:t>
              </a:r>
            </a:p>
          </p:txBody>
        </p:sp>
        <p:sp>
          <p:nvSpPr>
            <p:cNvPr id="67" name="Rectangle 53"/>
            <p:cNvSpPr txBox="1">
              <a:spLocks/>
            </p:cNvSpPr>
            <p:nvPr/>
          </p:nvSpPr>
          <p:spPr>
            <a:xfrm>
              <a:off x="1588408" y="885306"/>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Retrasos en la entrega de permisos y trámites para la construcción por parte de las autoridades estatales y prestadores de servicios públicos</a:t>
              </a:r>
            </a:p>
          </p:txBody>
        </p:sp>
        <p:sp>
          <p:nvSpPr>
            <p:cNvPr id="68" name="Rectangle 53"/>
            <p:cNvSpPr txBox="1">
              <a:spLocks/>
            </p:cNvSpPr>
            <p:nvPr/>
          </p:nvSpPr>
          <p:spPr>
            <a:xfrm>
              <a:off x="1588408" y="1439993"/>
              <a:ext cx="7116973" cy="619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Riesgo de legislación: baja calidad en la planificación urbana de largo plazo (POTs) e incertidumbre en cuanto a la interpretación de la normatividad, legislación, tributación y continuidad de políticas para garantizar los derechos adquiridos</a:t>
              </a:r>
            </a:p>
          </p:txBody>
        </p:sp>
        <p:sp>
          <p:nvSpPr>
            <p:cNvPr id="69" name="Rectangle 53"/>
            <p:cNvSpPr txBox="1">
              <a:spLocks/>
            </p:cNvSpPr>
            <p:nvPr/>
          </p:nvSpPr>
          <p:spPr>
            <a:xfrm>
              <a:off x="1588408" y="2202858"/>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Dificultad de los hogares y constructores a acceder a fuentes de financiación debido a menor capacidad de endeudamiento y políticas restrictivas del sector financiero</a:t>
              </a:r>
            </a:p>
          </p:txBody>
        </p:sp>
        <p:sp>
          <p:nvSpPr>
            <p:cNvPr id="70" name="Rectangle 53"/>
            <p:cNvSpPr txBox="1">
              <a:spLocks/>
            </p:cNvSpPr>
            <p:nvPr/>
          </p:nvSpPr>
          <p:spPr>
            <a:xfrm>
              <a:off x="1588408" y="3312233"/>
              <a:ext cx="7116973" cy="2081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Comunidades con mayor voz y poder de bloquear un proyecto de vivienda o la entrega final</a:t>
              </a:r>
            </a:p>
          </p:txBody>
        </p:sp>
        <p:sp>
          <p:nvSpPr>
            <p:cNvPr id="71" name="Rectangle 53"/>
            <p:cNvSpPr txBox="1">
              <a:spLocks/>
            </p:cNvSpPr>
            <p:nvPr/>
          </p:nvSpPr>
          <p:spPr>
            <a:xfrm>
              <a:off x="1588408" y="2757546"/>
              <a:ext cx="7116973" cy="4163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s-CO" sz="1300" dirty="0"/>
                <a:t>Bajos incentivos legales y contractuales en el mercado de los arriendos para que las constructoras incursionen en ese nicho</a:t>
              </a:r>
            </a:p>
          </p:txBody>
        </p:sp>
        <p:sp>
          <p:nvSpPr>
            <p:cNvPr id="72" name="Rectangle 17"/>
            <p:cNvSpPr>
              <a:spLocks noChangeArrowheads="1"/>
            </p:cNvSpPr>
            <p:nvPr/>
          </p:nvSpPr>
          <p:spPr bwMode="auto">
            <a:xfrm>
              <a:off x="256058" y="777654"/>
              <a:ext cx="1088192" cy="2737094"/>
            </a:xfrm>
            <a:prstGeom prst="rect">
              <a:avLst/>
            </a:prstGeom>
            <a:solidFill>
              <a:schemeClr val="accent2"/>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91440" tIns="45720" rIns="91440" bIns="45720" numCol="1" anchor="ctr" anchorCtr="0" compatLnSpc="1">
              <a:prstTxWarp prst="textNoShape">
                <a:avLst/>
              </a:prstTxWarp>
            </a:bodyPr>
            <a:lstStyle/>
            <a:p>
              <a:r>
                <a:rPr lang="es-CO" sz="1300" b="1" dirty="0">
                  <a:solidFill>
                    <a:schemeClr val="bg1"/>
                  </a:solidFill>
                  <a:latin typeface="Arial" pitchFamily="34" charset="0"/>
                  <a:cs typeface="Arial" pitchFamily="34" charset="0"/>
                </a:rPr>
                <a:t>Riesgos Externos</a:t>
              </a:r>
            </a:p>
          </p:txBody>
        </p:sp>
        <p:sp>
          <p:nvSpPr>
            <p:cNvPr id="73" name="Rectangle 17"/>
            <p:cNvSpPr>
              <a:spLocks noChangeArrowheads="1"/>
            </p:cNvSpPr>
            <p:nvPr/>
          </p:nvSpPr>
          <p:spPr bwMode="auto">
            <a:xfrm>
              <a:off x="256058" y="3645359"/>
              <a:ext cx="1088192" cy="965382"/>
            </a:xfrm>
            <a:prstGeom prst="rect">
              <a:avLst/>
            </a:prstGeom>
            <a:solidFill>
              <a:schemeClr val="accent2"/>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91440" tIns="45720" rIns="91440" bIns="0" numCol="1" anchor="ctr" anchorCtr="0" compatLnSpc="1">
              <a:prstTxWarp prst="textNoShape">
                <a:avLst/>
              </a:prstTxWarp>
            </a:bodyPr>
            <a:lstStyle/>
            <a:p>
              <a:r>
                <a:rPr lang="es-CO" sz="1300" b="1" dirty="0">
                  <a:solidFill>
                    <a:schemeClr val="bg1"/>
                  </a:solidFill>
                  <a:latin typeface="Arial" pitchFamily="34" charset="0"/>
                  <a:cs typeface="Arial" pitchFamily="34" charset="0"/>
                </a:rPr>
                <a:t>Riesgos a nivel de la industria</a:t>
              </a:r>
            </a:p>
          </p:txBody>
        </p:sp>
        <p:sp>
          <p:nvSpPr>
            <p:cNvPr id="74" name="Rectangle 17"/>
            <p:cNvSpPr>
              <a:spLocks noChangeArrowheads="1"/>
            </p:cNvSpPr>
            <p:nvPr/>
          </p:nvSpPr>
          <p:spPr bwMode="auto">
            <a:xfrm>
              <a:off x="256058" y="4741351"/>
              <a:ext cx="1088192" cy="1344325"/>
            </a:xfrm>
            <a:prstGeom prst="rect">
              <a:avLst/>
            </a:prstGeom>
            <a:solidFill>
              <a:schemeClr val="accent2"/>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91440" tIns="45720" rIns="91440" bIns="0" numCol="1" anchor="ctr" anchorCtr="0" compatLnSpc="1">
              <a:prstTxWarp prst="textNoShape">
                <a:avLst/>
              </a:prstTxWarp>
            </a:bodyPr>
            <a:lstStyle/>
            <a:p>
              <a:r>
                <a:rPr lang="es-CO" sz="1300" b="1" dirty="0">
                  <a:solidFill>
                    <a:schemeClr val="bg1"/>
                  </a:solidFill>
                  <a:latin typeface="Arial" pitchFamily="34" charset="0"/>
                  <a:cs typeface="Arial" pitchFamily="34" charset="0"/>
                </a:rPr>
                <a:t>Riesgos a nivel de la compañía</a:t>
              </a:r>
            </a:p>
          </p:txBody>
        </p:sp>
        <p:sp>
          <p:nvSpPr>
            <p:cNvPr id="75" name="Line 26"/>
            <p:cNvSpPr>
              <a:spLocks noChangeShapeType="1"/>
            </p:cNvSpPr>
            <p:nvPr/>
          </p:nvSpPr>
          <p:spPr bwMode="auto">
            <a:xfrm>
              <a:off x="256057" y="3580054"/>
              <a:ext cx="8449324" cy="0"/>
            </a:xfrm>
            <a:prstGeom prst="line">
              <a:avLst/>
            </a:prstGeom>
            <a:noFill/>
            <a:ln w="6350">
              <a:solidFill>
                <a:srgbClr val="96969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76" name="Line 26"/>
            <p:cNvSpPr>
              <a:spLocks noChangeShapeType="1"/>
            </p:cNvSpPr>
            <p:nvPr/>
          </p:nvSpPr>
          <p:spPr bwMode="auto">
            <a:xfrm>
              <a:off x="256057" y="4676046"/>
              <a:ext cx="8449324" cy="0"/>
            </a:xfrm>
            <a:prstGeom prst="line">
              <a:avLst/>
            </a:prstGeom>
            <a:noFill/>
            <a:ln w="6350">
              <a:solidFill>
                <a:srgbClr val="96969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77" name="Line 26"/>
            <p:cNvSpPr>
              <a:spLocks noChangeShapeType="1"/>
            </p:cNvSpPr>
            <p:nvPr/>
          </p:nvSpPr>
          <p:spPr bwMode="auto">
            <a:xfrm>
              <a:off x="1502309" y="1370827"/>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78" name="Line 26"/>
            <p:cNvSpPr>
              <a:spLocks noChangeShapeType="1"/>
            </p:cNvSpPr>
            <p:nvPr/>
          </p:nvSpPr>
          <p:spPr bwMode="auto">
            <a:xfrm>
              <a:off x="1502309" y="2133692"/>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79" name="Line 26"/>
            <p:cNvSpPr>
              <a:spLocks noChangeShapeType="1"/>
            </p:cNvSpPr>
            <p:nvPr/>
          </p:nvSpPr>
          <p:spPr bwMode="auto">
            <a:xfrm>
              <a:off x="1502309" y="2688380"/>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80" name="Line 26"/>
            <p:cNvSpPr>
              <a:spLocks noChangeShapeType="1"/>
            </p:cNvSpPr>
            <p:nvPr/>
          </p:nvSpPr>
          <p:spPr bwMode="auto">
            <a:xfrm>
              <a:off x="1502309" y="3243067"/>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81" name="Line 26"/>
            <p:cNvSpPr>
              <a:spLocks noChangeShapeType="1"/>
            </p:cNvSpPr>
            <p:nvPr/>
          </p:nvSpPr>
          <p:spPr bwMode="auto">
            <a:xfrm>
              <a:off x="1502309" y="4144265"/>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82" name="Line 26"/>
            <p:cNvSpPr>
              <a:spLocks noChangeShapeType="1"/>
            </p:cNvSpPr>
            <p:nvPr/>
          </p:nvSpPr>
          <p:spPr bwMode="auto">
            <a:xfrm>
              <a:off x="1502309" y="5045462"/>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83" name="Line 26"/>
            <p:cNvSpPr>
              <a:spLocks noChangeShapeType="1"/>
            </p:cNvSpPr>
            <p:nvPr/>
          </p:nvSpPr>
          <p:spPr bwMode="auto">
            <a:xfrm>
              <a:off x="1502309" y="5600150"/>
              <a:ext cx="7203072" cy="0"/>
            </a:xfrm>
            <a:prstGeom prst="line">
              <a:avLst/>
            </a:prstGeom>
            <a:noFill/>
            <a:ln w="6350">
              <a:solidFill>
                <a:schemeClr val="accent6">
                  <a:lumMod val="40000"/>
                  <a:lumOff val="60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s-CO" dirty="0"/>
            </a:p>
          </p:txBody>
        </p:sp>
        <p:sp>
          <p:nvSpPr>
            <p:cNvPr id="84" name="Oval 83"/>
            <p:cNvSpPr>
              <a:spLocks/>
            </p:cNvSpPr>
            <p:nvPr/>
          </p:nvSpPr>
          <p:spPr>
            <a:xfrm>
              <a:off x="1502309" y="885306"/>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1</a:t>
              </a:r>
            </a:p>
          </p:txBody>
        </p:sp>
        <p:sp>
          <p:nvSpPr>
            <p:cNvPr id="85" name="Oval 84"/>
            <p:cNvSpPr>
              <a:spLocks/>
            </p:cNvSpPr>
            <p:nvPr/>
          </p:nvSpPr>
          <p:spPr>
            <a:xfrm>
              <a:off x="1502309" y="1439993"/>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2</a:t>
              </a:r>
            </a:p>
          </p:txBody>
        </p:sp>
        <p:sp>
          <p:nvSpPr>
            <p:cNvPr id="86" name="Oval 85"/>
            <p:cNvSpPr>
              <a:spLocks/>
            </p:cNvSpPr>
            <p:nvPr/>
          </p:nvSpPr>
          <p:spPr>
            <a:xfrm>
              <a:off x="1502309" y="2202858"/>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3</a:t>
              </a:r>
            </a:p>
          </p:txBody>
        </p:sp>
        <p:sp>
          <p:nvSpPr>
            <p:cNvPr id="87" name="Oval 86"/>
            <p:cNvSpPr>
              <a:spLocks/>
            </p:cNvSpPr>
            <p:nvPr/>
          </p:nvSpPr>
          <p:spPr>
            <a:xfrm>
              <a:off x="1502309" y="2757546"/>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4</a:t>
              </a:r>
            </a:p>
          </p:txBody>
        </p:sp>
        <p:sp>
          <p:nvSpPr>
            <p:cNvPr id="88" name="Oval 87"/>
            <p:cNvSpPr>
              <a:spLocks/>
            </p:cNvSpPr>
            <p:nvPr/>
          </p:nvSpPr>
          <p:spPr>
            <a:xfrm>
              <a:off x="1502309" y="3299529"/>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5</a:t>
              </a:r>
            </a:p>
          </p:txBody>
        </p:sp>
        <p:sp>
          <p:nvSpPr>
            <p:cNvPr id="89" name="Oval 88"/>
            <p:cNvSpPr>
              <a:spLocks/>
            </p:cNvSpPr>
            <p:nvPr/>
          </p:nvSpPr>
          <p:spPr>
            <a:xfrm>
              <a:off x="1502309" y="3658743"/>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6</a:t>
              </a:r>
            </a:p>
          </p:txBody>
        </p:sp>
        <p:sp>
          <p:nvSpPr>
            <p:cNvPr id="90" name="Oval 89"/>
            <p:cNvSpPr>
              <a:spLocks/>
            </p:cNvSpPr>
            <p:nvPr/>
          </p:nvSpPr>
          <p:spPr>
            <a:xfrm>
              <a:off x="1502309" y="4213431"/>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7</a:t>
              </a:r>
            </a:p>
          </p:txBody>
        </p:sp>
        <p:sp>
          <p:nvSpPr>
            <p:cNvPr id="91" name="Oval 90"/>
            <p:cNvSpPr>
              <a:spLocks/>
            </p:cNvSpPr>
            <p:nvPr/>
          </p:nvSpPr>
          <p:spPr>
            <a:xfrm>
              <a:off x="1502309" y="4755414"/>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8</a:t>
              </a:r>
            </a:p>
          </p:txBody>
        </p:sp>
        <p:sp>
          <p:nvSpPr>
            <p:cNvPr id="92" name="Oval 91"/>
            <p:cNvSpPr>
              <a:spLocks/>
            </p:cNvSpPr>
            <p:nvPr/>
          </p:nvSpPr>
          <p:spPr>
            <a:xfrm>
              <a:off x="1502309" y="5114628"/>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9</a:t>
              </a:r>
            </a:p>
          </p:txBody>
        </p:sp>
        <p:sp>
          <p:nvSpPr>
            <p:cNvPr id="93" name="Oval 92"/>
            <p:cNvSpPr>
              <a:spLocks/>
            </p:cNvSpPr>
            <p:nvPr/>
          </p:nvSpPr>
          <p:spPr>
            <a:xfrm>
              <a:off x="1502309" y="5669320"/>
              <a:ext cx="215558" cy="220883"/>
            </a:xfrm>
            <a:prstGeom prst="ellipse">
              <a:avLst/>
            </a:prstGeom>
            <a:solidFill>
              <a:schemeClr val="accent4"/>
            </a:solidFill>
            <a:ln w="9525">
              <a:noFill/>
            </a:ln>
            <a:effectLst>
              <a:glow>
                <a:schemeClr val="accent1">
                  <a:alpha val="40000"/>
                </a:schemeClr>
              </a:glow>
              <a:outerShdw blurRad="101600" sx="64000" sy="64000" rotWithShape="0">
                <a:schemeClr val="tx1"/>
              </a:outerShdw>
            </a:effectLst>
            <a:scene3d>
              <a:camera prst="orthographicFront"/>
              <a:lightRig rig="balanced" dir="t">
                <a:rot lat="0" lon="0" rev="7800000"/>
              </a:lightRig>
            </a:scene3d>
            <a:sp3d>
              <a:bevelT w="254000" h="31750"/>
              <a:bevelB w="0" h="38100"/>
              <a:extrusionClr>
                <a:schemeClr val="bg2"/>
              </a:extrusionClr>
              <a:contourClr>
                <a:schemeClr val="accent3"/>
              </a:contourClr>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CO" sz="1300" b="1" dirty="0">
                  <a:solidFill>
                    <a:schemeClr val="bg1"/>
                  </a:solidFill>
                </a:rPr>
                <a:t>10</a:t>
              </a:r>
            </a:p>
          </p:txBody>
        </p:sp>
      </p:grpSp>
      <p:sp>
        <p:nvSpPr>
          <p:cNvPr id="40" name="1. On-page tracker">
            <a:extLst>
              <a:ext uri="{FF2B5EF4-FFF2-40B4-BE49-F238E27FC236}">
                <a16:creationId xmlns:a16="http://schemas.microsoft.com/office/drawing/2014/main" id="{47057EF0-5619-4EC8-819E-61C01934CFE7}"/>
              </a:ext>
            </a:extLst>
          </p:cNvPr>
          <p:cNvSpPr>
            <a:spLocks noChangeArrowheads="1"/>
          </p:cNvSpPr>
          <p:nvPr/>
        </p:nvSpPr>
        <p:spPr bwMode="gray">
          <a:xfrm>
            <a:off x="739141" y="75764"/>
            <a:ext cx="130997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39738"/>
            <a:r>
              <a:rPr lang="es-ES_tradnl" sz="800" cap="all" dirty="0">
                <a:solidFill>
                  <a:schemeClr val="accent6"/>
                </a:solidFill>
                <a:latin typeface="+mn-lt"/>
              </a:rPr>
              <a:t>Construcción </a:t>
            </a:r>
          </a:p>
        </p:txBody>
      </p:sp>
      <p:sp>
        <p:nvSpPr>
          <p:cNvPr id="41" name="Oval 40">
            <a:extLst>
              <a:ext uri="{FF2B5EF4-FFF2-40B4-BE49-F238E27FC236}">
                <a16:creationId xmlns:a16="http://schemas.microsoft.com/office/drawing/2014/main" id="{58CD7717-6DED-408B-97FC-7F60CF4A3144}"/>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3</a:t>
            </a:r>
          </a:p>
        </p:txBody>
      </p:sp>
      <p:sp>
        <p:nvSpPr>
          <p:cNvPr id="5" name="Title 4">
            <a:extLst>
              <a:ext uri="{FF2B5EF4-FFF2-40B4-BE49-F238E27FC236}">
                <a16:creationId xmlns:a16="http://schemas.microsoft.com/office/drawing/2014/main" id="{0664C52D-056A-4FE4-828B-47F83F342218}"/>
              </a:ext>
            </a:extLst>
          </p:cNvPr>
          <p:cNvSpPr>
            <a:spLocks noGrp="1"/>
          </p:cNvSpPr>
          <p:nvPr>
            <p:ph type="title"/>
          </p:nvPr>
        </p:nvSpPr>
        <p:spPr>
          <a:xfrm>
            <a:off x="739140" y="353603"/>
            <a:ext cx="10401755" cy="615553"/>
          </a:xfrm>
        </p:spPr>
        <p:txBody>
          <a:bodyPr/>
          <a:lstStyle/>
          <a:p>
            <a:pPr indent="442913"/>
            <a:r>
              <a:rPr lang="es-CO" dirty="0"/>
              <a:t>Se hizo una priorización de riesgos para mitigar en conjunto, muchos de ellos afectan productividad</a:t>
            </a:r>
          </a:p>
        </p:txBody>
      </p:sp>
    </p:spTree>
    <p:extLst>
      <p:ext uri="{BB962C8B-B14F-4D97-AF65-F5344CB8AC3E}">
        <p14:creationId xmlns:p14="http://schemas.microsoft.com/office/powerpoint/2010/main" val="32855281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007427430"/>
              </p:ext>
            </p:extLst>
          </p:nvPr>
        </p:nvGraphicFramePr>
        <p:xfrm>
          <a:off x="1493837" y="0"/>
          <a:ext cx="158750" cy="158750"/>
        </p:xfrm>
        <a:graphic>
          <a:graphicData uri="http://schemas.openxmlformats.org/presentationml/2006/ole">
            <mc:AlternateContent xmlns:mc="http://schemas.openxmlformats.org/markup-compatibility/2006">
              <mc:Choice xmlns:v="urn:schemas-microsoft-com:vml" Requires="v">
                <p:oleObj spid="_x0000_s137277" name="think-cell Slide" r:id="rId5" imgW="270" imgH="270" progId="TCLayout.ActiveDocument.1">
                  <p:embed/>
                </p:oleObj>
              </mc:Choice>
              <mc:Fallback>
                <p:oleObj name="think-cell Slide" r:id="rId5" imgW="270" imgH="270" progId="TCLayout.ActiveDocument.1">
                  <p:embed/>
                  <p:pic>
                    <p:nvPicPr>
                      <p:cNvPr id="26" name="Object 25" hidden="1"/>
                      <p:cNvPicPr/>
                      <p:nvPr/>
                    </p:nvPicPr>
                    <p:blipFill>
                      <a:blip r:embed="rId6"/>
                      <a:stretch>
                        <a:fillRect/>
                      </a:stretch>
                    </p:blipFill>
                    <p:spPr>
                      <a:xfrm>
                        <a:off x="1493837" y="0"/>
                        <a:ext cx="158750" cy="158750"/>
                      </a:xfrm>
                      <a:prstGeom prst="rect">
                        <a:avLst/>
                      </a:prstGeom>
                    </p:spPr>
                  </p:pic>
                </p:oleObj>
              </mc:Fallback>
            </mc:AlternateContent>
          </a:graphicData>
        </a:graphic>
      </p:graphicFrame>
      <p:sp>
        <p:nvSpPr>
          <p:cNvPr id="2" name="Title 1"/>
          <p:cNvSpPr>
            <a:spLocks noGrp="1"/>
          </p:cNvSpPr>
          <p:nvPr>
            <p:ph type="title"/>
          </p:nvPr>
        </p:nvSpPr>
        <p:spPr>
          <a:xfrm>
            <a:off x="739140" y="353604"/>
            <a:ext cx="10401755"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0163" algn="l"/>
              </a:tabLst>
            </a:pPr>
            <a:r>
              <a:rPr lang="es-CO" dirty="0"/>
              <a:t>Casas GEO es un ejemplo de un constructor que ha revolucionado </a:t>
            </a:r>
            <a:br>
              <a:rPr lang="es-CO" dirty="0"/>
            </a:br>
            <a:r>
              <a:rPr lang="es-CO" dirty="0"/>
              <a:t>la entrega de viviendas en México con un enfoque industrial</a:t>
            </a:r>
          </a:p>
        </p:txBody>
      </p:sp>
      <p:grpSp>
        <p:nvGrpSpPr>
          <p:cNvPr id="43" name="Group 42"/>
          <p:cNvGrpSpPr/>
          <p:nvPr/>
        </p:nvGrpSpPr>
        <p:grpSpPr>
          <a:xfrm>
            <a:off x="582593" y="1310327"/>
            <a:ext cx="11256777" cy="414234"/>
            <a:chOff x="0" y="841755"/>
            <a:chExt cx="8961438" cy="455108"/>
          </a:xfrm>
        </p:grpSpPr>
        <p:sp>
          <p:nvSpPr>
            <p:cNvPr id="44" name="Rectangle 43"/>
            <p:cNvSpPr>
              <a:spLocks/>
            </p:cNvSpPr>
            <p:nvPr/>
          </p:nvSpPr>
          <p:spPr>
            <a:xfrm>
              <a:off x="0" y="841755"/>
              <a:ext cx="8961438" cy="455108"/>
            </a:xfrm>
            <a:prstGeom prst="rect">
              <a:avLst/>
            </a:prstGeom>
            <a:gradFill>
              <a:gsLst>
                <a:gs pos="0">
                  <a:schemeClr val="bg1">
                    <a:lumMod val="95000"/>
                  </a:schemeClr>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00" dirty="0">
                <a:solidFill>
                  <a:schemeClr val="accent3"/>
                </a:solidFill>
              </a:endParaRPr>
            </a:p>
          </p:txBody>
        </p:sp>
        <p:cxnSp>
          <p:nvCxnSpPr>
            <p:cNvPr id="45" name="Straight Connector 44"/>
            <p:cNvCxnSpPr>
              <a:cxnSpLocks/>
            </p:cNvCxnSpPr>
            <p:nvPr/>
          </p:nvCxnSpPr>
          <p:spPr>
            <a:xfrm>
              <a:off x="0" y="841755"/>
              <a:ext cx="89614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4" name="Rectangle 2"/>
          <p:cNvSpPr>
            <a:spLocks noChangeArrowheads="1"/>
          </p:cNvSpPr>
          <p:nvPr/>
        </p:nvSpPr>
        <p:spPr bwMode="gray">
          <a:xfrm rot="10800000" flipH="1" flipV="1">
            <a:off x="582593" y="1104909"/>
            <a:ext cx="9421041" cy="2031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9" anchor="b">
            <a:spAutoFit/>
          </a:bodyPr>
          <a:lstStyle/>
          <a:p>
            <a:r>
              <a:rPr lang="es-CO" sz="1200" b="1" dirty="0">
                <a:solidFill>
                  <a:schemeClr val="tx2"/>
                </a:solidFill>
              </a:rPr>
              <a:t>Casas Geo México</a:t>
            </a:r>
          </a:p>
        </p:txBody>
      </p:sp>
      <p:sp>
        <p:nvSpPr>
          <p:cNvPr id="28" name="Rectangle 28"/>
          <p:cNvSpPr>
            <a:spLocks noChangeArrowheads="1"/>
          </p:cNvSpPr>
          <p:nvPr/>
        </p:nvSpPr>
        <p:spPr bwMode="gray">
          <a:xfrm>
            <a:off x="9556459" y="1321095"/>
            <a:ext cx="2282910" cy="4705292"/>
          </a:xfrm>
          <a:prstGeom prst="roundRect">
            <a:avLst>
              <a:gd name="adj" fmla="val 0"/>
            </a:avLst>
          </a:prstGeom>
          <a:solidFill>
            <a:schemeClr val="accent3"/>
          </a:solidFill>
          <a:ln w="19050" algn="ctr">
            <a:solidFill>
              <a:schemeClr val="hlink"/>
            </a:solidFill>
            <a:miter lim="800000"/>
            <a:headEnd/>
            <a:tailEnd/>
          </a:ln>
          <a:effectLst/>
          <a:extLst/>
        </p:spPr>
        <p:txBody>
          <a:bodyPr vert="horz" wrap="none" lIns="91440" tIns="45719" rIns="91440" bIns="45719" numCol="1" anchor="ctr" anchorCtr="0" compatLnSpc="1">
            <a:prstTxWarp prst="textNoShape">
              <a:avLst/>
            </a:prstTxWarp>
          </a:bodyPr>
          <a:lstStyle/>
          <a:p>
            <a:endParaRPr lang="es-CO" sz="1200" dirty="0"/>
          </a:p>
        </p:txBody>
      </p:sp>
      <p:sp>
        <p:nvSpPr>
          <p:cNvPr id="112" name="Rectangle 33"/>
          <p:cNvSpPr txBox="1">
            <a:spLocks/>
          </p:cNvSpPr>
          <p:nvPr/>
        </p:nvSpPr>
        <p:spPr>
          <a:xfrm>
            <a:off x="9700929" y="1509854"/>
            <a:ext cx="2048620" cy="42627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600"/>
              </a:spcBef>
              <a:buClr>
                <a:schemeClr val="bg1"/>
              </a:buClr>
            </a:pPr>
            <a:r>
              <a:rPr lang="es-CO" sz="1200" dirty="0">
                <a:solidFill>
                  <a:schemeClr val="bg1"/>
                </a:solidFill>
              </a:rPr>
              <a:t>Casas Geo es uno de los mayores fabricantes de viviendas AH en México: ~ 60,000 unidades / año</a:t>
            </a:r>
          </a:p>
          <a:p>
            <a:pPr lvl="1">
              <a:spcBef>
                <a:spcPts val="600"/>
              </a:spcBef>
              <a:buClr>
                <a:schemeClr val="bg1"/>
              </a:buClr>
            </a:pPr>
            <a:r>
              <a:rPr lang="es-CO" sz="1200" dirty="0">
                <a:solidFill>
                  <a:schemeClr val="bg1"/>
                </a:solidFill>
              </a:rPr>
              <a:t>Desarrolló un sistema de construcción industrial que ayudó a ahorrar costos</a:t>
            </a:r>
          </a:p>
          <a:p>
            <a:pPr lvl="1">
              <a:spcBef>
                <a:spcPts val="600"/>
              </a:spcBef>
              <a:buClr>
                <a:schemeClr val="bg1"/>
              </a:buClr>
            </a:pPr>
            <a:r>
              <a:rPr lang="es-CO" sz="1200" dirty="0">
                <a:solidFill>
                  <a:schemeClr val="bg1"/>
                </a:solidFill>
              </a:rPr>
              <a:t>La estandarización del diseño y la producción de fábrica permite una fácil replicación en todo el país</a:t>
            </a:r>
          </a:p>
          <a:p>
            <a:pPr lvl="1">
              <a:spcBef>
                <a:spcPts val="600"/>
              </a:spcBef>
              <a:buClr>
                <a:schemeClr val="bg1"/>
              </a:buClr>
            </a:pPr>
            <a:r>
              <a:rPr lang="es-CO" sz="1200" dirty="0">
                <a:solidFill>
                  <a:schemeClr val="bg1"/>
                </a:solidFill>
              </a:rPr>
              <a:t>El capex para una planta típica es ~$ </a:t>
            </a:r>
            <a:r>
              <a:rPr lang="es-CO" sz="1200" dirty="0" err="1">
                <a:solidFill>
                  <a:schemeClr val="bg1"/>
                </a:solidFill>
              </a:rPr>
              <a:t>50m</a:t>
            </a:r>
            <a:endParaRPr lang="es-CO" sz="1200" dirty="0">
              <a:solidFill>
                <a:schemeClr val="bg1"/>
              </a:solidFill>
            </a:endParaRPr>
          </a:p>
          <a:p>
            <a:pPr lvl="1">
              <a:spcBef>
                <a:spcPts val="600"/>
              </a:spcBef>
              <a:buClr>
                <a:schemeClr val="bg1"/>
              </a:buClr>
            </a:pPr>
            <a:r>
              <a:rPr lang="es-CO" sz="1200" dirty="0">
                <a:solidFill>
                  <a:schemeClr val="bg1"/>
                </a:solidFill>
              </a:rPr>
              <a:t>Una construcción G+3 se realizó en 4-6 semanas en comparación con las 12 semanas convencionales</a:t>
            </a:r>
          </a:p>
          <a:p>
            <a:pPr lvl="1">
              <a:spcBef>
                <a:spcPts val="600"/>
              </a:spcBef>
              <a:buClr>
                <a:schemeClr val="bg1"/>
              </a:buClr>
            </a:pPr>
            <a:r>
              <a:rPr lang="es-CO" sz="1200" dirty="0">
                <a:solidFill>
                  <a:schemeClr val="bg1"/>
                </a:solidFill>
              </a:rPr>
              <a:t>Los grandes ahorros de tiempo se traducen en ahorro de costos</a:t>
            </a:r>
          </a:p>
        </p:txBody>
      </p:sp>
      <p:sp>
        <p:nvSpPr>
          <p:cNvPr id="15" name="Rectangle 6"/>
          <p:cNvSpPr>
            <a:spLocks noChangeArrowheads="1"/>
          </p:cNvSpPr>
          <p:nvPr/>
        </p:nvSpPr>
        <p:spPr bwMode="gray">
          <a:xfrm>
            <a:off x="582593" y="1941379"/>
            <a:ext cx="4326873" cy="1656330"/>
          </a:xfrm>
          <a:prstGeom prst="rect">
            <a:avLst/>
          </a:prstGeom>
          <a:solidFill>
            <a:schemeClr val="bg1"/>
          </a:solidFill>
          <a:ln w="19050" algn="ctr">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rgbClr val="808080">
                      <a:alpha val="50000"/>
                    </a:srgbClr>
                  </a:outerShdw>
                </a:effectLst>
              </a14:hiddenEffects>
            </a:ext>
          </a:extLst>
        </p:spPr>
        <p:txBody>
          <a:bodyPr vert="horz" wrap="none" lIns="91440" tIns="45719" rIns="91440" bIns="45719" numCol="1" anchor="ctr" anchorCtr="0" compatLnSpc="1">
            <a:prstTxWarp prst="textNoShape">
              <a:avLst/>
            </a:prstTxWarp>
          </a:bodyPr>
          <a:lstStyle/>
          <a:p>
            <a:endParaRPr lang="es-CO" sz="1200" dirty="0"/>
          </a:p>
        </p:txBody>
      </p:sp>
      <p:pic>
        <p:nvPicPr>
          <p:cNvPr id="187409" name="Picture 1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631266" y="1976419"/>
            <a:ext cx="1915215" cy="7654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7410" name="Picture 18"/>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gray">
          <a:xfrm>
            <a:off x="964665" y="2791785"/>
            <a:ext cx="1934682" cy="7722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7411" name="Picture 19"/>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gray">
          <a:xfrm>
            <a:off x="2699791" y="1976424"/>
            <a:ext cx="1786235" cy="7978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7412" name="Picture 20"/>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gray">
          <a:xfrm>
            <a:off x="3021020" y="2813347"/>
            <a:ext cx="1825172" cy="7533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6" name="Rectangle 7"/>
          <p:cNvSpPr>
            <a:spLocks noChangeArrowheads="1"/>
          </p:cNvSpPr>
          <p:nvPr/>
        </p:nvSpPr>
        <p:spPr bwMode="gray">
          <a:xfrm>
            <a:off x="5040101" y="1941379"/>
            <a:ext cx="4326873" cy="1656330"/>
          </a:xfrm>
          <a:prstGeom prst="rect">
            <a:avLst/>
          </a:prstGeom>
          <a:solidFill>
            <a:schemeClr val="bg1"/>
          </a:solidFill>
          <a:ln w="19050" algn="ctr">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rgbClr val="808080">
                      <a:alpha val="50000"/>
                    </a:srgbClr>
                  </a:outerShdw>
                </a:effectLst>
              </a14:hiddenEffects>
            </a:ext>
          </a:extLst>
        </p:spPr>
        <p:txBody>
          <a:bodyPr vert="horz" wrap="none" lIns="91440" tIns="45719" rIns="91440" bIns="45719" numCol="1" anchor="ctr" anchorCtr="0" compatLnSpc="1">
            <a:prstTxWarp prst="textNoShape">
              <a:avLst/>
            </a:prstTxWarp>
          </a:bodyPr>
          <a:lstStyle/>
          <a:p>
            <a:endParaRPr lang="es-CO" sz="1200" dirty="0"/>
          </a:p>
        </p:txBody>
      </p:sp>
      <p:pic>
        <p:nvPicPr>
          <p:cNvPr id="187413" name="Picture 21"/>
          <p:cNvPicPr>
            <a:picLocks noChangeAspect="1" noChangeArrowheads="1"/>
          </p:cNvPicPr>
          <p:nvPr/>
        </p:nvPicPr>
        <p:blipFill rotWithShape="1">
          <a:blip r:embed="rId11">
            <a:extLst>
              <a:ext uri="{28A0092B-C50C-407E-A947-70E740481C1C}">
                <a14:useLocalDpi xmlns:a14="http://schemas.microsoft.com/office/drawing/2010/main"/>
              </a:ext>
            </a:extLst>
          </a:blip>
          <a:srcRect t="8104" b="8104"/>
          <a:stretch/>
        </p:blipFill>
        <p:spPr bwMode="gray">
          <a:xfrm>
            <a:off x="5113105" y="2003375"/>
            <a:ext cx="2584442" cy="7385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7414" name="Picture 22"/>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t="11805" b="11805"/>
          <a:stretch/>
        </p:blipFill>
        <p:spPr bwMode="gray">
          <a:xfrm>
            <a:off x="7055090" y="2736528"/>
            <a:ext cx="2258347" cy="8315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 name="Rectangle 8"/>
          <p:cNvSpPr>
            <a:spLocks noChangeArrowheads="1"/>
          </p:cNvSpPr>
          <p:nvPr/>
        </p:nvSpPr>
        <p:spPr bwMode="gray">
          <a:xfrm>
            <a:off x="582593" y="3668736"/>
            <a:ext cx="4326873" cy="1359836"/>
          </a:xfrm>
          <a:prstGeom prst="rect">
            <a:avLst/>
          </a:prstGeom>
          <a:solidFill>
            <a:schemeClr val="bg1"/>
          </a:solidFill>
          <a:ln w="19050" algn="ctr">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rgbClr val="808080">
                      <a:alpha val="50000"/>
                    </a:srgbClr>
                  </a:outerShdw>
                </a:effectLst>
              </a14:hiddenEffects>
            </a:ext>
          </a:extLst>
        </p:spPr>
        <p:txBody>
          <a:bodyPr vert="horz" wrap="none" lIns="91440" tIns="45719" rIns="91440" bIns="45719" numCol="1" anchor="ctr" anchorCtr="0" compatLnSpc="1">
            <a:prstTxWarp prst="textNoShape">
              <a:avLst/>
            </a:prstTxWarp>
          </a:bodyPr>
          <a:lstStyle/>
          <a:p>
            <a:endParaRPr lang="es-CO" sz="1200" dirty="0"/>
          </a:p>
        </p:txBody>
      </p:sp>
      <p:pic>
        <p:nvPicPr>
          <p:cNvPr id="187415" name="Picture 23"/>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gray">
          <a:xfrm>
            <a:off x="648300" y="3695690"/>
            <a:ext cx="2095296" cy="770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7416" name="Picture 24"/>
          <p:cNvPicPr>
            <a:picLocks noChangeArrowheads="1"/>
          </p:cNvPicPr>
          <p:nvPr/>
        </p:nvPicPr>
        <p:blipFill>
          <a:blip r:embed="rId14">
            <a:extLst>
              <a:ext uri="{28A0092B-C50C-407E-A947-70E740481C1C}">
                <a14:useLocalDpi xmlns:a14="http://schemas.microsoft.com/office/drawing/2010/main"/>
              </a:ext>
            </a:extLst>
          </a:blip>
          <a:srcRect/>
          <a:stretch>
            <a:fillRect/>
          </a:stretch>
        </p:blipFill>
        <p:spPr bwMode="gray">
          <a:xfrm>
            <a:off x="2780998" y="4170083"/>
            <a:ext cx="2053296" cy="7911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9"/>
          <p:cNvSpPr>
            <a:spLocks noChangeArrowheads="1"/>
          </p:cNvSpPr>
          <p:nvPr/>
        </p:nvSpPr>
        <p:spPr bwMode="gray">
          <a:xfrm>
            <a:off x="5040101" y="3668736"/>
            <a:ext cx="4326873" cy="1359836"/>
          </a:xfrm>
          <a:prstGeom prst="rect">
            <a:avLst/>
          </a:prstGeom>
          <a:solidFill>
            <a:schemeClr val="bg1"/>
          </a:solidFill>
          <a:ln w="19050" algn="ctr">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rgbClr val="808080">
                      <a:alpha val="50000"/>
                    </a:srgbClr>
                  </a:outerShdw>
                </a:effectLst>
              </a14:hiddenEffects>
            </a:ext>
          </a:extLst>
        </p:spPr>
        <p:txBody>
          <a:bodyPr vert="horz" wrap="none" lIns="91440" tIns="45719" rIns="91440" bIns="45719" numCol="1" anchor="ctr" anchorCtr="0" compatLnSpc="1">
            <a:prstTxWarp prst="textNoShape">
              <a:avLst/>
            </a:prstTxWarp>
            <a:noAutofit/>
          </a:bodyPr>
          <a:lstStyle/>
          <a:p>
            <a:endParaRPr lang="es-CO" sz="1200" dirty="0"/>
          </a:p>
        </p:txBody>
      </p:sp>
      <p:pic>
        <p:nvPicPr>
          <p:cNvPr id="187417" name="Picture 25"/>
          <p:cNvPicPr>
            <a:picLocks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316813" y="3719501"/>
            <a:ext cx="1715886" cy="7708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7418" name="Picture 26"/>
          <p:cNvPicPr>
            <a:picLocks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7269251" y="4199285"/>
            <a:ext cx="1715886" cy="7708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29" name="Straight Arrow Connector 28"/>
          <p:cNvCxnSpPr/>
          <p:nvPr/>
        </p:nvCxnSpPr>
        <p:spPr>
          <a:xfrm>
            <a:off x="2699791" y="1680881"/>
            <a:ext cx="0" cy="230956"/>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7203534" y="1680881"/>
            <a:ext cx="0" cy="230956"/>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2699791" y="5073600"/>
            <a:ext cx="0" cy="230956"/>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7203534" y="5073600"/>
            <a:ext cx="0" cy="230956"/>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110" name="Rectangle 33"/>
          <p:cNvSpPr txBox="1">
            <a:spLocks/>
          </p:cNvSpPr>
          <p:nvPr/>
        </p:nvSpPr>
        <p:spPr>
          <a:xfrm>
            <a:off x="582593" y="5195392"/>
            <a:ext cx="4326873" cy="830995"/>
          </a:xfrm>
          <a:prstGeom prst="rect">
            <a:avLst/>
          </a:prstGeom>
          <a:solidFill>
            <a:schemeClr val="bg1"/>
          </a:solidFill>
          <a:ln w="12700">
            <a:solidFill>
              <a:schemeClr val="accent4"/>
            </a:solidFill>
            <a:miter lim="800000"/>
            <a:headEnd/>
            <a:tailEnd/>
          </a:ln>
          <a:effectLst/>
          <a:extLst/>
        </p:spPr>
        <p:txBody>
          <a:bodyPr vert="horz" wrap="square" lIns="45719" tIns="45719" rIns="45719" bIns="4571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6" lvl="1" indent="0">
              <a:buNone/>
            </a:pPr>
            <a:r>
              <a:rPr lang="es-CO" sz="1200" dirty="0"/>
              <a:t>Capacidad total de hasta 12,500 unidades de vivienda por año por fábrica, </a:t>
            </a:r>
            <a:r>
              <a:rPr lang="es-CO" sz="1200" b="1" dirty="0">
                <a:solidFill>
                  <a:schemeClr val="tx2"/>
                </a:solidFill>
              </a:rPr>
              <a:t>a 300 km del sitio. Además, también desarrolla una</a:t>
            </a:r>
            <a:r>
              <a:rPr lang="es-CO" sz="1200" dirty="0"/>
              <a:t> planta </a:t>
            </a:r>
            <a:r>
              <a:rPr lang="es-CO" sz="1200" b="1" dirty="0">
                <a:solidFill>
                  <a:schemeClr val="tx2"/>
                </a:solidFill>
              </a:rPr>
              <a:t>móvil in situ</a:t>
            </a:r>
            <a:r>
              <a:rPr lang="es-CO" sz="1200" dirty="0"/>
              <a:t> de ~ 500 unidades / año de capacidad</a:t>
            </a:r>
          </a:p>
        </p:txBody>
      </p:sp>
      <p:sp>
        <p:nvSpPr>
          <p:cNvPr id="111" name="Rectangle 33"/>
          <p:cNvSpPr txBox="1">
            <a:spLocks/>
          </p:cNvSpPr>
          <p:nvPr/>
        </p:nvSpPr>
        <p:spPr>
          <a:xfrm>
            <a:off x="5040101" y="5195392"/>
            <a:ext cx="4326873" cy="830995"/>
          </a:xfrm>
          <a:prstGeom prst="rect">
            <a:avLst/>
          </a:prstGeom>
          <a:solidFill>
            <a:schemeClr val="bg1"/>
          </a:solidFill>
          <a:ln w="12700">
            <a:solidFill>
              <a:schemeClr val="accent4"/>
            </a:solidFill>
            <a:miter lim="800000"/>
            <a:headEnd/>
            <a:tailEnd/>
          </a:ln>
          <a:effectLst/>
          <a:extLst/>
        </p:spPr>
        <p:txBody>
          <a:bodyPr vert="horz" wrap="square" lIns="45719" tIns="45719" rIns="45719" bIns="4571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6" lvl="1" indent="0">
              <a:buNone/>
            </a:pPr>
            <a:r>
              <a:rPr lang="es-CO" sz="1200" dirty="0"/>
              <a:t>Ahorro de tiempo de hasta el 50% en la Construcción Vertical frente a los Sistemas de Construcción Tradicionales</a:t>
            </a:r>
          </a:p>
        </p:txBody>
      </p:sp>
      <p:sp>
        <p:nvSpPr>
          <p:cNvPr id="109" name="Rectangle 33"/>
          <p:cNvSpPr txBox="1">
            <a:spLocks/>
          </p:cNvSpPr>
          <p:nvPr/>
        </p:nvSpPr>
        <p:spPr>
          <a:xfrm>
            <a:off x="5040101" y="1377876"/>
            <a:ext cx="4326873" cy="461663"/>
          </a:xfrm>
          <a:prstGeom prst="rect">
            <a:avLst/>
          </a:prstGeom>
          <a:solidFill>
            <a:schemeClr val="bg1"/>
          </a:solidFill>
          <a:ln w="12700">
            <a:solidFill>
              <a:schemeClr val="accent4"/>
            </a:solidFill>
            <a:miter lim="800000"/>
            <a:headEnd/>
            <a:tailEnd/>
          </a:ln>
          <a:effectLst/>
          <a:extLst/>
        </p:spPr>
        <p:txBody>
          <a:bodyPr vert="horz" wrap="square" lIns="45719" tIns="45719" rIns="45719" bIns="4571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6" lvl="1" indent="0">
              <a:buNone/>
            </a:pPr>
            <a:r>
              <a:rPr lang="es-CO" sz="1200" dirty="0"/>
              <a:t>Reducción de costos de mano de obra, inventario y ciclo de capital de trabajo mejorado</a:t>
            </a:r>
          </a:p>
        </p:txBody>
      </p:sp>
      <p:sp>
        <p:nvSpPr>
          <p:cNvPr id="33" name="Rectangle 33"/>
          <p:cNvSpPr txBox="1">
            <a:spLocks/>
          </p:cNvSpPr>
          <p:nvPr/>
        </p:nvSpPr>
        <p:spPr>
          <a:xfrm>
            <a:off x="582593" y="1377876"/>
            <a:ext cx="4326873" cy="461663"/>
          </a:xfrm>
          <a:prstGeom prst="rect">
            <a:avLst/>
          </a:prstGeom>
          <a:solidFill>
            <a:schemeClr val="bg1"/>
          </a:solidFill>
          <a:ln w="12700">
            <a:solidFill>
              <a:schemeClr val="accent4"/>
            </a:solidFill>
            <a:miter lim="800000"/>
            <a:headEnd/>
            <a:tailEnd/>
          </a:ln>
          <a:effectLst/>
          <a:extLst/>
        </p:spPr>
        <p:txBody>
          <a:bodyPr vert="horz" wrap="square" lIns="45719" tIns="45719" rIns="45719" bIns="4571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6" lvl="1" indent="0">
              <a:buNone/>
            </a:pPr>
            <a:r>
              <a:rPr lang="es-CO" sz="1200" dirty="0"/>
              <a:t>Fábrica de viviendas completamente automatizada, que puede ser replicada según la demanda</a:t>
            </a:r>
          </a:p>
        </p:txBody>
      </p:sp>
      <p:pic>
        <p:nvPicPr>
          <p:cNvPr id="37" name="Picture 36"/>
          <p:cNvPicPr>
            <a:picLocks/>
          </p:cNvPicPr>
          <p:nvPr/>
        </p:nvPicPr>
        <p:blipFill>
          <a:blip r:embed="rId17" cstate="email">
            <a:extLst>
              <a:ext uri="{28A0092B-C50C-407E-A947-70E740481C1C}">
                <a14:useLocalDpi xmlns:a14="http://schemas.microsoft.com/office/drawing/2010/main"/>
              </a:ext>
            </a:extLst>
          </a:blip>
          <a:stretch>
            <a:fillRect/>
          </a:stretch>
        </p:blipFill>
        <p:spPr>
          <a:xfrm>
            <a:off x="9877340" y="590214"/>
            <a:ext cx="550530" cy="366352"/>
          </a:xfrm>
          <a:prstGeom prst="rect">
            <a:avLst/>
          </a:prstGeom>
        </p:spPr>
      </p:pic>
    </p:spTree>
    <p:extLst>
      <p:ext uri="{BB962C8B-B14F-4D97-AF65-F5344CB8AC3E}">
        <p14:creationId xmlns:p14="http://schemas.microsoft.com/office/powerpoint/2010/main" val="1238238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ext uri="{D42A27DB-BD31-4B8C-83A1-F6EECF244321}">
                <p14:modId xmlns:p14="http://schemas.microsoft.com/office/powerpoint/2010/main" val="381693104"/>
              </p:ext>
            </p:extLst>
          </p:nvPr>
        </p:nvGraphicFramePr>
        <p:xfrm>
          <a:off x="1495029" y="841488"/>
          <a:ext cx="1190" cy="1190"/>
        </p:xfrm>
        <a:graphic>
          <a:graphicData uri="http://schemas.openxmlformats.org/presentationml/2006/ole">
            <mc:AlternateContent xmlns:mc="http://schemas.openxmlformats.org/markup-compatibility/2006">
              <mc:Choice xmlns:v="urn:schemas-microsoft-com:vml" Requires="v">
                <p:oleObj spid="_x0000_s125058" name="think-cell Slide" r:id="rId30" imgW="353" imgH="353" progId="TCLayout.ActiveDocument.1">
                  <p:embed/>
                </p:oleObj>
              </mc:Choice>
              <mc:Fallback>
                <p:oleObj name="think-cell Slide" r:id="rId30" imgW="353" imgH="353" progId="TCLayout.ActiveDocument.1">
                  <p:embed/>
                  <p:pic>
                    <p:nvPicPr>
                      <p:cNvPr id="61" name="Object 60" hidden="1"/>
                      <p:cNvPicPr/>
                      <p:nvPr/>
                    </p:nvPicPr>
                    <p:blipFill>
                      <a:blip r:embed="rId31"/>
                      <a:stretch>
                        <a:fillRect/>
                      </a:stretch>
                    </p:blipFill>
                    <p:spPr>
                      <a:xfrm>
                        <a:off x="1495029" y="841488"/>
                        <a:ext cx="1190" cy="1190"/>
                      </a:xfrm>
                      <a:prstGeom prst="rect">
                        <a:avLst/>
                      </a:prstGeom>
                    </p:spPr>
                  </p:pic>
                </p:oleObj>
              </mc:Fallback>
            </mc:AlternateContent>
          </a:graphicData>
        </a:graphic>
      </p:graphicFrame>
      <p:sp>
        <p:nvSpPr>
          <p:cNvPr id="4" name="Rectangle 3" hidden="1"/>
          <p:cNvSpPr/>
          <p:nvPr>
            <p:custDataLst>
              <p:tags r:id="rId3"/>
            </p:custDataLst>
          </p:nvPr>
        </p:nvSpPr>
        <p:spPr bwMode="auto">
          <a:xfrm>
            <a:off x="1493839" y="840297"/>
            <a:ext cx="119056" cy="119056"/>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750">
              <a:lnSpc>
                <a:spcPct val="90000"/>
              </a:lnSpc>
            </a:pPr>
            <a:endParaRPr lang="es-CO" sz="1500" dirty="0" err="1">
              <a:solidFill>
                <a:srgbClr val="000000"/>
              </a:solidFill>
              <a:latin typeface="Arial" panose="020B0604020202020204" pitchFamily="34" charset="0"/>
              <a:ea typeface="Arial Unicode MS" panose="020B0604020202020204"/>
              <a:sym typeface="Arial" panose="020B0604020202020204" pitchFamily="34" charset="0"/>
            </a:endParaRPr>
          </a:p>
        </p:txBody>
      </p:sp>
      <p:sp>
        <p:nvSpPr>
          <p:cNvPr id="62" name="Freeform 61"/>
          <p:cNvSpPr/>
          <p:nvPr/>
        </p:nvSpPr>
        <p:spPr>
          <a:xfrm>
            <a:off x="984800" y="1710055"/>
            <a:ext cx="9911800" cy="4019069"/>
          </a:xfrm>
          <a:custGeom>
            <a:avLst/>
            <a:gdLst>
              <a:gd name="connsiteX0" fmla="*/ 4179196 w 7199086"/>
              <a:gd name="connsiteY0" fmla="*/ 0 h 3972736"/>
              <a:gd name="connsiteX1" fmla="*/ 4483910 w 7199086"/>
              <a:gd name="connsiteY1" fmla="*/ 979423 h 3972736"/>
              <a:gd name="connsiteX2" fmla="*/ 4789352 w 7199086"/>
              <a:gd name="connsiteY2" fmla="*/ 513411 h 3972736"/>
              <a:gd name="connsiteX3" fmla="*/ 5094066 w 7199086"/>
              <a:gd name="connsiteY3" fmla="*/ 161633 h 3972736"/>
              <a:gd name="connsiteX4" fmla="*/ 5398779 w 7199086"/>
              <a:gd name="connsiteY4" fmla="*/ 513411 h 3972736"/>
              <a:gd name="connsiteX5" fmla="*/ 5704222 w 7199086"/>
              <a:gd name="connsiteY5" fmla="*/ 437317 h 3972736"/>
              <a:gd name="connsiteX6" fmla="*/ 6008936 w 7199086"/>
              <a:gd name="connsiteY6" fmla="*/ 1473765 h 3972736"/>
              <a:gd name="connsiteX7" fmla="*/ 6304172 w 7199086"/>
              <a:gd name="connsiteY7" fmla="*/ 1064961 h 3972736"/>
              <a:gd name="connsiteX8" fmla="*/ 6608886 w 7199086"/>
              <a:gd name="connsiteY8" fmla="*/ 950910 h 3972736"/>
              <a:gd name="connsiteX9" fmla="*/ 6914328 w 7199086"/>
              <a:gd name="connsiteY9" fmla="*/ 1026823 h 3972736"/>
              <a:gd name="connsiteX10" fmla="*/ 7199086 w 7199086"/>
              <a:gd name="connsiteY10" fmla="*/ 982527 h 3972736"/>
              <a:gd name="connsiteX11" fmla="*/ 7199086 w 7199086"/>
              <a:gd name="connsiteY11" fmla="*/ 3972736 h 3972736"/>
              <a:gd name="connsiteX12" fmla="*/ 0 w 7199086"/>
              <a:gd name="connsiteY12" fmla="*/ 3972736 h 3972736"/>
              <a:gd name="connsiteX13" fmla="*/ 0 w 7199086"/>
              <a:gd name="connsiteY13" fmla="*/ 1098272 h 3972736"/>
              <a:gd name="connsiteX14" fmla="*/ 233956 w 7199086"/>
              <a:gd name="connsiteY14" fmla="*/ 1302689 h 3972736"/>
              <a:gd name="connsiteX15" fmla="*/ 539399 w 7199086"/>
              <a:gd name="connsiteY15" fmla="*/ 1416740 h 3972736"/>
              <a:gd name="connsiteX16" fmla="*/ 844112 w 7199086"/>
              <a:gd name="connsiteY16" fmla="*/ 1645023 h 3972736"/>
              <a:gd name="connsiteX17" fmla="*/ 1148826 w 7199086"/>
              <a:gd name="connsiteY17" fmla="*/ 1464321 h 3972736"/>
              <a:gd name="connsiteX18" fmla="*/ 1444063 w 7199086"/>
              <a:gd name="connsiteY18" fmla="*/ 1293063 h 3972736"/>
              <a:gd name="connsiteX19" fmla="*/ 1749506 w 7199086"/>
              <a:gd name="connsiteY19" fmla="*/ 1711493 h 3972736"/>
              <a:gd name="connsiteX20" fmla="*/ 2054219 w 7199086"/>
              <a:gd name="connsiteY20" fmla="*/ 1816100 h 3972736"/>
              <a:gd name="connsiteX21" fmla="*/ 2358933 w 7199086"/>
              <a:gd name="connsiteY21" fmla="*/ 1654467 h 3972736"/>
              <a:gd name="connsiteX22" fmla="*/ 2664375 w 7199086"/>
              <a:gd name="connsiteY22" fmla="*/ 1692424 h 3972736"/>
              <a:gd name="connsiteX23" fmla="*/ 2969089 w 7199086"/>
              <a:gd name="connsiteY23" fmla="*/ 1759075 h 3972736"/>
              <a:gd name="connsiteX24" fmla="*/ 3273802 w 7199086"/>
              <a:gd name="connsiteY24" fmla="*/ 1559304 h 3972736"/>
              <a:gd name="connsiteX25" fmla="*/ 3579245 w 7199086"/>
              <a:gd name="connsiteY25" fmla="*/ 1407296 h 3972736"/>
              <a:gd name="connsiteX26" fmla="*/ 3874482 w 7199086"/>
              <a:gd name="connsiteY26" fmla="*/ 960354 h 3972736"/>
              <a:gd name="connsiteX27" fmla="*/ 4179196 w 7199086"/>
              <a:gd name="connsiteY27" fmla="*/ 0 h 3972736"/>
              <a:gd name="connsiteX0" fmla="*/ 4216437 w 7236327"/>
              <a:gd name="connsiteY0" fmla="*/ 0 h 3972736"/>
              <a:gd name="connsiteX1" fmla="*/ 4521151 w 7236327"/>
              <a:gd name="connsiteY1" fmla="*/ 979423 h 3972736"/>
              <a:gd name="connsiteX2" fmla="*/ 4826593 w 7236327"/>
              <a:gd name="connsiteY2" fmla="*/ 513411 h 3972736"/>
              <a:gd name="connsiteX3" fmla="*/ 5131307 w 7236327"/>
              <a:gd name="connsiteY3" fmla="*/ 161633 h 3972736"/>
              <a:gd name="connsiteX4" fmla="*/ 5436020 w 7236327"/>
              <a:gd name="connsiteY4" fmla="*/ 513411 h 3972736"/>
              <a:gd name="connsiteX5" fmla="*/ 5741463 w 7236327"/>
              <a:gd name="connsiteY5" fmla="*/ 437317 h 3972736"/>
              <a:gd name="connsiteX6" fmla="*/ 6046177 w 7236327"/>
              <a:gd name="connsiteY6" fmla="*/ 1473765 h 3972736"/>
              <a:gd name="connsiteX7" fmla="*/ 6341413 w 7236327"/>
              <a:gd name="connsiteY7" fmla="*/ 1064961 h 3972736"/>
              <a:gd name="connsiteX8" fmla="*/ 6646127 w 7236327"/>
              <a:gd name="connsiteY8" fmla="*/ 950910 h 3972736"/>
              <a:gd name="connsiteX9" fmla="*/ 6951569 w 7236327"/>
              <a:gd name="connsiteY9" fmla="*/ 1026823 h 3972736"/>
              <a:gd name="connsiteX10" fmla="*/ 7236327 w 7236327"/>
              <a:gd name="connsiteY10" fmla="*/ 982527 h 3972736"/>
              <a:gd name="connsiteX11" fmla="*/ 7236327 w 7236327"/>
              <a:gd name="connsiteY11" fmla="*/ 3972736 h 3972736"/>
              <a:gd name="connsiteX12" fmla="*/ 37241 w 7236327"/>
              <a:gd name="connsiteY12" fmla="*/ 3972736 h 3972736"/>
              <a:gd name="connsiteX13" fmla="*/ 0 w 7236327"/>
              <a:gd name="connsiteY13" fmla="*/ 1068291 h 3972736"/>
              <a:gd name="connsiteX14" fmla="*/ 271197 w 7236327"/>
              <a:gd name="connsiteY14" fmla="*/ 1302689 h 3972736"/>
              <a:gd name="connsiteX15" fmla="*/ 576640 w 7236327"/>
              <a:gd name="connsiteY15" fmla="*/ 1416740 h 3972736"/>
              <a:gd name="connsiteX16" fmla="*/ 881353 w 7236327"/>
              <a:gd name="connsiteY16" fmla="*/ 1645023 h 3972736"/>
              <a:gd name="connsiteX17" fmla="*/ 1186067 w 7236327"/>
              <a:gd name="connsiteY17" fmla="*/ 1464321 h 3972736"/>
              <a:gd name="connsiteX18" fmla="*/ 1481304 w 7236327"/>
              <a:gd name="connsiteY18" fmla="*/ 1293063 h 3972736"/>
              <a:gd name="connsiteX19" fmla="*/ 1786747 w 7236327"/>
              <a:gd name="connsiteY19" fmla="*/ 1711493 h 3972736"/>
              <a:gd name="connsiteX20" fmla="*/ 2091460 w 7236327"/>
              <a:gd name="connsiteY20" fmla="*/ 1816100 h 3972736"/>
              <a:gd name="connsiteX21" fmla="*/ 2396174 w 7236327"/>
              <a:gd name="connsiteY21" fmla="*/ 1654467 h 3972736"/>
              <a:gd name="connsiteX22" fmla="*/ 2701616 w 7236327"/>
              <a:gd name="connsiteY22" fmla="*/ 1692424 h 3972736"/>
              <a:gd name="connsiteX23" fmla="*/ 3006330 w 7236327"/>
              <a:gd name="connsiteY23" fmla="*/ 1759075 h 3972736"/>
              <a:gd name="connsiteX24" fmla="*/ 3311043 w 7236327"/>
              <a:gd name="connsiteY24" fmla="*/ 1559304 h 3972736"/>
              <a:gd name="connsiteX25" fmla="*/ 3616486 w 7236327"/>
              <a:gd name="connsiteY25" fmla="*/ 1407296 h 3972736"/>
              <a:gd name="connsiteX26" fmla="*/ 3911723 w 7236327"/>
              <a:gd name="connsiteY26" fmla="*/ 960354 h 3972736"/>
              <a:gd name="connsiteX27" fmla="*/ 4216437 w 7236327"/>
              <a:gd name="connsiteY27" fmla="*/ 0 h 3972736"/>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881353 w 7236327"/>
              <a:gd name="connsiteY16" fmla="*/ 1645023 h 3995221"/>
              <a:gd name="connsiteX17" fmla="*/ 1186067 w 7236327"/>
              <a:gd name="connsiteY17" fmla="*/ 1464321 h 3995221"/>
              <a:gd name="connsiteX18" fmla="*/ 1481304 w 7236327"/>
              <a:gd name="connsiteY18" fmla="*/ 1293063 h 3995221"/>
              <a:gd name="connsiteX19" fmla="*/ 1786747 w 7236327"/>
              <a:gd name="connsiteY19" fmla="*/ 1711493 h 3995221"/>
              <a:gd name="connsiteX20" fmla="*/ 2091460 w 7236327"/>
              <a:gd name="connsiteY20" fmla="*/ 1816100 h 3995221"/>
              <a:gd name="connsiteX21" fmla="*/ 2396174 w 7236327"/>
              <a:gd name="connsiteY21" fmla="*/ 1654467 h 3995221"/>
              <a:gd name="connsiteX22" fmla="*/ 2701616 w 7236327"/>
              <a:gd name="connsiteY22" fmla="*/ 1692424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64321 h 3995221"/>
              <a:gd name="connsiteX18" fmla="*/ 1481304 w 7236327"/>
              <a:gd name="connsiteY18" fmla="*/ 1293063 h 3995221"/>
              <a:gd name="connsiteX19" fmla="*/ 1786747 w 7236327"/>
              <a:gd name="connsiteY19" fmla="*/ 1711493 h 3995221"/>
              <a:gd name="connsiteX20" fmla="*/ 2091460 w 7236327"/>
              <a:gd name="connsiteY20" fmla="*/ 1816100 h 3995221"/>
              <a:gd name="connsiteX21" fmla="*/ 2396174 w 7236327"/>
              <a:gd name="connsiteY21" fmla="*/ 1654467 h 3995221"/>
              <a:gd name="connsiteX22" fmla="*/ 2701616 w 7236327"/>
              <a:gd name="connsiteY22" fmla="*/ 1692424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481304 w 7236327"/>
              <a:gd name="connsiteY18" fmla="*/ 1293063 h 3995221"/>
              <a:gd name="connsiteX19" fmla="*/ 1786747 w 7236327"/>
              <a:gd name="connsiteY19" fmla="*/ 1711493 h 3995221"/>
              <a:gd name="connsiteX20" fmla="*/ 2091460 w 7236327"/>
              <a:gd name="connsiteY20" fmla="*/ 1816100 h 3995221"/>
              <a:gd name="connsiteX21" fmla="*/ 2396174 w 7236327"/>
              <a:gd name="connsiteY21" fmla="*/ 1654467 h 3995221"/>
              <a:gd name="connsiteX22" fmla="*/ 2701616 w 7236327"/>
              <a:gd name="connsiteY22" fmla="*/ 1692424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091460 w 7236327"/>
              <a:gd name="connsiteY20" fmla="*/ 1816100 h 3995221"/>
              <a:gd name="connsiteX21" fmla="*/ 2396174 w 7236327"/>
              <a:gd name="connsiteY21" fmla="*/ 1654467 h 3995221"/>
              <a:gd name="connsiteX22" fmla="*/ 2701616 w 7236327"/>
              <a:gd name="connsiteY22" fmla="*/ 1692424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396174 w 7236327"/>
              <a:gd name="connsiteY21" fmla="*/ 1654467 h 3995221"/>
              <a:gd name="connsiteX22" fmla="*/ 2701616 w 7236327"/>
              <a:gd name="connsiteY22" fmla="*/ 1692424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416468 w 7236327"/>
              <a:gd name="connsiteY21" fmla="*/ 1677577 h 3995221"/>
              <a:gd name="connsiteX22" fmla="*/ 2701616 w 7236327"/>
              <a:gd name="connsiteY22" fmla="*/ 1692424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416468 w 7236327"/>
              <a:gd name="connsiteY21" fmla="*/ 1677577 h 3995221"/>
              <a:gd name="connsiteX22" fmla="*/ 2698234 w 7236327"/>
              <a:gd name="connsiteY22" fmla="*/ 1710913 h 3995221"/>
              <a:gd name="connsiteX23" fmla="*/ 3006330 w 7236327"/>
              <a:gd name="connsiteY23" fmla="*/ 1759075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416468 w 7236327"/>
              <a:gd name="connsiteY21" fmla="*/ 1677577 h 3995221"/>
              <a:gd name="connsiteX22" fmla="*/ 2698234 w 7236327"/>
              <a:gd name="connsiteY22" fmla="*/ 1710913 h 3995221"/>
              <a:gd name="connsiteX23" fmla="*/ 3013095 w 7236327"/>
              <a:gd name="connsiteY23" fmla="*/ 1777564 h 3995221"/>
              <a:gd name="connsiteX24" fmla="*/ 3311043 w 7236327"/>
              <a:gd name="connsiteY24" fmla="*/ 1559304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416468 w 7236327"/>
              <a:gd name="connsiteY21" fmla="*/ 1677577 h 3995221"/>
              <a:gd name="connsiteX22" fmla="*/ 2698234 w 7236327"/>
              <a:gd name="connsiteY22" fmla="*/ 1710913 h 3995221"/>
              <a:gd name="connsiteX23" fmla="*/ 3013095 w 7236327"/>
              <a:gd name="connsiteY23" fmla="*/ 1777564 h 3995221"/>
              <a:gd name="connsiteX24" fmla="*/ 3327954 w 7236327"/>
              <a:gd name="connsiteY24" fmla="*/ 1568548 h 3995221"/>
              <a:gd name="connsiteX25" fmla="*/ 3616486 w 7236327"/>
              <a:gd name="connsiteY25" fmla="*/ 1407296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416468 w 7236327"/>
              <a:gd name="connsiteY21" fmla="*/ 1677577 h 3995221"/>
              <a:gd name="connsiteX22" fmla="*/ 2698234 w 7236327"/>
              <a:gd name="connsiteY22" fmla="*/ 1710913 h 3995221"/>
              <a:gd name="connsiteX23" fmla="*/ 3013095 w 7236327"/>
              <a:gd name="connsiteY23" fmla="*/ 1777564 h 3995221"/>
              <a:gd name="connsiteX24" fmla="*/ 3327954 w 7236327"/>
              <a:gd name="connsiteY24" fmla="*/ 1568548 h 3995221"/>
              <a:gd name="connsiteX25" fmla="*/ 3613104 w 7236327"/>
              <a:gd name="connsiteY25" fmla="*/ 1430408 h 3995221"/>
              <a:gd name="connsiteX26" fmla="*/ 3911723 w 7236327"/>
              <a:gd name="connsiteY26" fmla="*/ 960354 h 3995221"/>
              <a:gd name="connsiteX27" fmla="*/ 4216437 w 7236327"/>
              <a:gd name="connsiteY27" fmla="*/ 0 h 3995221"/>
              <a:gd name="connsiteX0" fmla="*/ 4216437 w 7236327"/>
              <a:gd name="connsiteY0" fmla="*/ 0 h 3995221"/>
              <a:gd name="connsiteX1" fmla="*/ 4521151 w 7236327"/>
              <a:gd name="connsiteY1" fmla="*/ 979423 h 3995221"/>
              <a:gd name="connsiteX2" fmla="*/ 4826593 w 7236327"/>
              <a:gd name="connsiteY2" fmla="*/ 513411 h 3995221"/>
              <a:gd name="connsiteX3" fmla="*/ 5131307 w 7236327"/>
              <a:gd name="connsiteY3" fmla="*/ 161633 h 3995221"/>
              <a:gd name="connsiteX4" fmla="*/ 5436020 w 7236327"/>
              <a:gd name="connsiteY4" fmla="*/ 513411 h 3995221"/>
              <a:gd name="connsiteX5" fmla="*/ 5741463 w 7236327"/>
              <a:gd name="connsiteY5" fmla="*/ 437317 h 3995221"/>
              <a:gd name="connsiteX6" fmla="*/ 6046177 w 7236327"/>
              <a:gd name="connsiteY6" fmla="*/ 1473765 h 3995221"/>
              <a:gd name="connsiteX7" fmla="*/ 6341413 w 7236327"/>
              <a:gd name="connsiteY7" fmla="*/ 1064961 h 3995221"/>
              <a:gd name="connsiteX8" fmla="*/ 6646127 w 7236327"/>
              <a:gd name="connsiteY8" fmla="*/ 950910 h 3995221"/>
              <a:gd name="connsiteX9" fmla="*/ 6951569 w 7236327"/>
              <a:gd name="connsiteY9" fmla="*/ 1026823 h 3995221"/>
              <a:gd name="connsiteX10" fmla="*/ 7236327 w 7236327"/>
              <a:gd name="connsiteY10" fmla="*/ 982527 h 3995221"/>
              <a:gd name="connsiteX11" fmla="*/ 7236327 w 7236327"/>
              <a:gd name="connsiteY11" fmla="*/ 3972736 h 3995221"/>
              <a:gd name="connsiteX12" fmla="*/ 7448 w 7236327"/>
              <a:gd name="connsiteY12" fmla="*/ 3995221 h 3995221"/>
              <a:gd name="connsiteX13" fmla="*/ 0 w 7236327"/>
              <a:gd name="connsiteY13" fmla="*/ 1068291 h 3995221"/>
              <a:gd name="connsiteX14" fmla="*/ 271197 w 7236327"/>
              <a:gd name="connsiteY14" fmla="*/ 1302689 h 3995221"/>
              <a:gd name="connsiteX15" fmla="*/ 576640 w 7236327"/>
              <a:gd name="connsiteY15" fmla="*/ 1416740 h 3995221"/>
              <a:gd name="connsiteX16" fmla="*/ 905029 w 7236327"/>
              <a:gd name="connsiteY16" fmla="*/ 1672757 h 3995221"/>
              <a:gd name="connsiteX17" fmla="*/ 1186067 w 7236327"/>
              <a:gd name="connsiteY17" fmla="*/ 1496677 h 3995221"/>
              <a:gd name="connsiteX18" fmla="*/ 1504980 w 7236327"/>
              <a:gd name="connsiteY18" fmla="*/ 1306929 h 3995221"/>
              <a:gd name="connsiteX19" fmla="*/ 1786747 w 7236327"/>
              <a:gd name="connsiteY19" fmla="*/ 1711493 h 3995221"/>
              <a:gd name="connsiteX20" fmla="*/ 2108372 w 7236327"/>
              <a:gd name="connsiteY20" fmla="*/ 1843834 h 3995221"/>
              <a:gd name="connsiteX21" fmla="*/ 2416468 w 7236327"/>
              <a:gd name="connsiteY21" fmla="*/ 1677577 h 3995221"/>
              <a:gd name="connsiteX22" fmla="*/ 2698234 w 7236327"/>
              <a:gd name="connsiteY22" fmla="*/ 1710913 h 3995221"/>
              <a:gd name="connsiteX23" fmla="*/ 3013095 w 7236327"/>
              <a:gd name="connsiteY23" fmla="*/ 1777564 h 3995221"/>
              <a:gd name="connsiteX24" fmla="*/ 3327954 w 7236327"/>
              <a:gd name="connsiteY24" fmla="*/ 1568548 h 3995221"/>
              <a:gd name="connsiteX25" fmla="*/ 3613104 w 7236327"/>
              <a:gd name="connsiteY25" fmla="*/ 1430408 h 3995221"/>
              <a:gd name="connsiteX26" fmla="*/ 3915106 w 7236327"/>
              <a:gd name="connsiteY26" fmla="*/ 978843 h 3995221"/>
              <a:gd name="connsiteX27" fmla="*/ 4216437 w 7236327"/>
              <a:gd name="connsiteY27" fmla="*/ 0 h 3995221"/>
              <a:gd name="connsiteX0" fmla="*/ 4213054 w 7236327"/>
              <a:gd name="connsiteY0" fmla="*/ 0 h 3962866"/>
              <a:gd name="connsiteX1" fmla="*/ 4521151 w 7236327"/>
              <a:gd name="connsiteY1" fmla="*/ 947068 h 3962866"/>
              <a:gd name="connsiteX2" fmla="*/ 4826593 w 7236327"/>
              <a:gd name="connsiteY2" fmla="*/ 481056 h 3962866"/>
              <a:gd name="connsiteX3" fmla="*/ 5131307 w 7236327"/>
              <a:gd name="connsiteY3" fmla="*/ 129278 h 3962866"/>
              <a:gd name="connsiteX4" fmla="*/ 5436020 w 7236327"/>
              <a:gd name="connsiteY4" fmla="*/ 481056 h 3962866"/>
              <a:gd name="connsiteX5" fmla="*/ 5741463 w 7236327"/>
              <a:gd name="connsiteY5" fmla="*/ 404962 h 3962866"/>
              <a:gd name="connsiteX6" fmla="*/ 6046177 w 7236327"/>
              <a:gd name="connsiteY6" fmla="*/ 1441410 h 3962866"/>
              <a:gd name="connsiteX7" fmla="*/ 6341413 w 7236327"/>
              <a:gd name="connsiteY7" fmla="*/ 1032606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36020 w 7236327"/>
              <a:gd name="connsiteY4" fmla="*/ 481056 h 3962866"/>
              <a:gd name="connsiteX5" fmla="*/ 5741463 w 7236327"/>
              <a:gd name="connsiteY5" fmla="*/ 404962 h 3962866"/>
              <a:gd name="connsiteX6" fmla="*/ 6046177 w 7236327"/>
              <a:gd name="connsiteY6" fmla="*/ 1441410 h 3962866"/>
              <a:gd name="connsiteX7" fmla="*/ 6341413 w 7236327"/>
              <a:gd name="connsiteY7" fmla="*/ 1032606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41463 w 7236327"/>
              <a:gd name="connsiteY5" fmla="*/ 404962 h 3962866"/>
              <a:gd name="connsiteX6" fmla="*/ 6046177 w 7236327"/>
              <a:gd name="connsiteY6" fmla="*/ 1441410 h 3962866"/>
              <a:gd name="connsiteX7" fmla="*/ 6341413 w 7236327"/>
              <a:gd name="connsiteY7" fmla="*/ 1032606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46177 w 7236327"/>
              <a:gd name="connsiteY6" fmla="*/ 1441410 h 3962866"/>
              <a:gd name="connsiteX7" fmla="*/ 6341413 w 7236327"/>
              <a:gd name="connsiteY7" fmla="*/ 1032606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46177 w 7236327"/>
              <a:gd name="connsiteY6" fmla="*/ 1441410 h 3962866"/>
              <a:gd name="connsiteX7" fmla="*/ 6341413 w 7236327"/>
              <a:gd name="connsiteY7" fmla="*/ 1032606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19118 w 7236327"/>
              <a:gd name="connsiteY6" fmla="*/ 1464521 h 3962866"/>
              <a:gd name="connsiteX7" fmla="*/ 6341413 w 7236327"/>
              <a:gd name="connsiteY7" fmla="*/ 1032606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19118 w 7236327"/>
              <a:gd name="connsiteY6" fmla="*/ 1464521 h 3962866"/>
              <a:gd name="connsiteX7" fmla="*/ 6314354 w 7236327"/>
              <a:gd name="connsiteY7" fmla="*/ 1069584 h 3962866"/>
              <a:gd name="connsiteX8" fmla="*/ 6646127 w 7236327"/>
              <a:gd name="connsiteY8" fmla="*/ 918555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19118 w 7236327"/>
              <a:gd name="connsiteY6" fmla="*/ 1464521 h 3962866"/>
              <a:gd name="connsiteX7" fmla="*/ 6314354 w 7236327"/>
              <a:gd name="connsiteY7" fmla="*/ 1069584 h 3962866"/>
              <a:gd name="connsiteX8" fmla="*/ 6619068 w 7236327"/>
              <a:gd name="connsiteY8" fmla="*/ 955534 h 3962866"/>
              <a:gd name="connsiteX9" fmla="*/ 6951569 w 7236327"/>
              <a:gd name="connsiteY9" fmla="*/ 994468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19118 w 7236327"/>
              <a:gd name="connsiteY6" fmla="*/ 1464521 h 3962866"/>
              <a:gd name="connsiteX7" fmla="*/ 6314354 w 7236327"/>
              <a:gd name="connsiteY7" fmla="*/ 1069584 h 3962866"/>
              <a:gd name="connsiteX8" fmla="*/ 6619068 w 7236327"/>
              <a:gd name="connsiteY8" fmla="*/ 955534 h 3962866"/>
              <a:gd name="connsiteX9" fmla="*/ 6934657 w 7236327"/>
              <a:gd name="connsiteY9" fmla="*/ 1026824 h 3962866"/>
              <a:gd name="connsiteX10" fmla="*/ 7236327 w 7236327"/>
              <a:gd name="connsiteY10" fmla="*/ 950172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13054 w 7236327"/>
              <a:gd name="connsiteY0" fmla="*/ 0 h 3962866"/>
              <a:gd name="connsiteX1" fmla="*/ 4521151 w 7236327"/>
              <a:gd name="connsiteY1" fmla="*/ 947068 h 3962866"/>
              <a:gd name="connsiteX2" fmla="*/ 4826593 w 7236327"/>
              <a:gd name="connsiteY2" fmla="*/ 481056 h 3962866"/>
              <a:gd name="connsiteX3" fmla="*/ 5114396 w 7236327"/>
              <a:gd name="connsiteY3" fmla="*/ 166256 h 3962866"/>
              <a:gd name="connsiteX4" fmla="*/ 5412344 w 7236327"/>
              <a:gd name="connsiteY4" fmla="*/ 508789 h 3962866"/>
              <a:gd name="connsiteX5" fmla="*/ 5721169 w 7236327"/>
              <a:gd name="connsiteY5" fmla="*/ 437317 h 3962866"/>
              <a:gd name="connsiteX6" fmla="*/ 6019118 w 7236327"/>
              <a:gd name="connsiteY6" fmla="*/ 1464521 h 3962866"/>
              <a:gd name="connsiteX7" fmla="*/ 6314354 w 7236327"/>
              <a:gd name="connsiteY7" fmla="*/ 1069584 h 3962866"/>
              <a:gd name="connsiteX8" fmla="*/ 6619068 w 7236327"/>
              <a:gd name="connsiteY8" fmla="*/ 955534 h 3962866"/>
              <a:gd name="connsiteX9" fmla="*/ 6934657 w 7236327"/>
              <a:gd name="connsiteY9" fmla="*/ 1026824 h 3962866"/>
              <a:gd name="connsiteX10" fmla="*/ 7236327 w 7236327"/>
              <a:gd name="connsiteY10" fmla="*/ 964038 h 3962866"/>
              <a:gd name="connsiteX11" fmla="*/ 7236327 w 7236327"/>
              <a:gd name="connsiteY11" fmla="*/ 3940381 h 3962866"/>
              <a:gd name="connsiteX12" fmla="*/ 7448 w 7236327"/>
              <a:gd name="connsiteY12" fmla="*/ 3962866 h 3962866"/>
              <a:gd name="connsiteX13" fmla="*/ 0 w 7236327"/>
              <a:gd name="connsiteY13" fmla="*/ 1035936 h 3962866"/>
              <a:gd name="connsiteX14" fmla="*/ 271197 w 7236327"/>
              <a:gd name="connsiteY14" fmla="*/ 1270334 h 3962866"/>
              <a:gd name="connsiteX15" fmla="*/ 576640 w 7236327"/>
              <a:gd name="connsiteY15" fmla="*/ 1384385 h 3962866"/>
              <a:gd name="connsiteX16" fmla="*/ 905029 w 7236327"/>
              <a:gd name="connsiteY16" fmla="*/ 1640402 h 3962866"/>
              <a:gd name="connsiteX17" fmla="*/ 1186067 w 7236327"/>
              <a:gd name="connsiteY17" fmla="*/ 1464322 h 3962866"/>
              <a:gd name="connsiteX18" fmla="*/ 1504980 w 7236327"/>
              <a:gd name="connsiteY18" fmla="*/ 1274574 h 3962866"/>
              <a:gd name="connsiteX19" fmla="*/ 1786747 w 7236327"/>
              <a:gd name="connsiteY19" fmla="*/ 1679138 h 3962866"/>
              <a:gd name="connsiteX20" fmla="*/ 2108372 w 7236327"/>
              <a:gd name="connsiteY20" fmla="*/ 1811479 h 3962866"/>
              <a:gd name="connsiteX21" fmla="*/ 2416468 w 7236327"/>
              <a:gd name="connsiteY21" fmla="*/ 1645222 h 3962866"/>
              <a:gd name="connsiteX22" fmla="*/ 2698234 w 7236327"/>
              <a:gd name="connsiteY22" fmla="*/ 1678558 h 3962866"/>
              <a:gd name="connsiteX23" fmla="*/ 3013095 w 7236327"/>
              <a:gd name="connsiteY23" fmla="*/ 1745209 h 3962866"/>
              <a:gd name="connsiteX24" fmla="*/ 3327954 w 7236327"/>
              <a:gd name="connsiteY24" fmla="*/ 1536193 h 3962866"/>
              <a:gd name="connsiteX25" fmla="*/ 3613104 w 7236327"/>
              <a:gd name="connsiteY25" fmla="*/ 1398053 h 3962866"/>
              <a:gd name="connsiteX26" fmla="*/ 3915106 w 7236327"/>
              <a:gd name="connsiteY26" fmla="*/ 946488 h 3962866"/>
              <a:gd name="connsiteX27" fmla="*/ 4213054 w 7236327"/>
              <a:gd name="connsiteY27" fmla="*/ 0 h 3962866"/>
              <a:gd name="connsiteX0" fmla="*/ 4290938 w 7236327"/>
              <a:gd name="connsiteY0" fmla="*/ 77528 h 3796610"/>
              <a:gd name="connsiteX1" fmla="*/ 4521151 w 7236327"/>
              <a:gd name="connsiteY1" fmla="*/ 780812 h 3796610"/>
              <a:gd name="connsiteX2" fmla="*/ 4826593 w 7236327"/>
              <a:gd name="connsiteY2" fmla="*/ 314800 h 3796610"/>
              <a:gd name="connsiteX3" fmla="*/ 5114396 w 7236327"/>
              <a:gd name="connsiteY3" fmla="*/ 0 h 3796610"/>
              <a:gd name="connsiteX4" fmla="*/ 5412344 w 7236327"/>
              <a:gd name="connsiteY4" fmla="*/ 342533 h 3796610"/>
              <a:gd name="connsiteX5" fmla="*/ 5721169 w 7236327"/>
              <a:gd name="connsiteY5" fmla="*/ 271061 h 3796610"/>
              <a:gd name="connsiteX6" fmla="*/ 6019118 w 7236327"/>
              <a:gd name="connsiteY6" fmla="*/ 1298265 h 3796610"/>
              <a:gd name="connsiteX7" fmla="*/ 6314354 w 7236327"/>
              <a:gd name="connsiteY7" fmla="*/ 903328 h 3796610"/>
              <a:gd name="connsiteX8" fmla="*/ 6619068 w 7236327"/>
              <a:gd name="connsiteY8" fmla="*/ 789278 h 3796610"/>
              <a:gd name="connsiteX9" fmla="*/ 6934657 w 7236327"/>
              <a:gd name="connsiteY9" fmla="*/ 860568 h 3796610"/>
              <a:gd name="connsiteX10" fmla="*/ 7236327 w 7236327"/>
              <a:gd name="connsiteY10" fmla="*/ 797782 h 3796610"/>
              <a:gd name="connsiteX11" fmla="*/ 7236327 w 7236327"/>
              <a:gd name="connsiteY11" fmla="*/ 3774125 h 3796610"/>
              <a:gd name="connsiteX12" fmla="*/ 7448 w 7236327"/>
              <a:gd name="connsiteY12" fmla="*/ 3796610 h 3796610"/>
              <a:gd name="connsiteX13" fmla="*/ 0 w 7236327"/>
              <a:gd name="connsiteY13" fmla="*/ 869680 h 3796610"/>
              <a:gd name="connsiteX14" fmla="*/ 271197 w 7236327"/>
              <a:gd name="connsiteY14" fmla="*/ 1104078 h 3796610"/>
              <a:gd name="connsiteX15" fmla="*/ 576640 w 7236327"/>
              <a:gd name="connsiteY15" fmla="*/ 1218129 h 3796610"/>
              <a:gd name="connsiteX16" fmla="*/ 905029 w 7236327"/>
              <a:gd name="connsiteY16" fmla="*/ 1474146 h 3796610"/>
              <a:gd name="connsiteX17" fmla="*/ 1186067 w 7236327"/>
              <a:gd name="connsiteY17" fmla="*/ 1298066 h 3796610"/>
              <a:gd name="connsiteX18" fmla="*/ 1504980 w 7236327"/>
              <a:gd name="connsiteY18" fmla="*/ 1108318 h 3796610"/>
              <a:gd name="connsiteX19" fmla="*/ 1786747 w 7236327"/>
              <a:gd name="connsiteY19" fmla="*/ 1512882 h 3796610"/>
              <a:gd name="connsiteX20" fmla="*/ 2108372 w 7236327"/>
              <a:gd name="connsiteY20" fmla="*/ 1645223 h 3796610"/>
              <a:gd name="connsiteX21" fmla="*/ 2416468 w 7236327"/>
              <a:gd name="connsiteY21" fmla="*/ 1478966 h 3796610"/>
              <a:gd name="connsiteX22" fmla="*/ 2698234 w 7236327"/>
              <a:gd name="connsiteY22" fmla="*/ 1512302 h 3796610"/>
              <a:gd name="connsiteX23" fmla="*/ 3013095 w 7236327"/>
              <a:gd name="connsiteY23" fmla="*/ 1578953 h 3796610"/>
              <a:gd name="connsiteX24" fmla="*/ 3327954 w 7236327"/>
              <a:gd name="connsiteY24" fmla="*/ 1369937 h 3796610"/>
              <a:gd name="connsiteX25" fmla="*/ 3613104 w 7236327"/>
              <a:gd name="connsiteY25" fmla="*/ 1231797 h 3796610"/>
              <a:gd name="connsiteX26" fmla="*/ 3915106 w 7236327"/>
              <a:gd name="connsiteY26" fmla="*/ 780232 h 3796610"/>
              <a:gd name="connsiteX27" fmla="*/ 4290938 w 7236327"/>
              <a:gd name="connsiteY27" fmla="*/ 77528 h 3796610"/>
              <a:gd name="connsiteX0" fmla="*/ 4224180 w 7236327"/>
              <a:gd name="connsiteY0" fmla="*/ 0 h 3896379"/>
              <a:gd name="connsiteX1" fmla="*/ 4521151 w 7236327"/>
              <a:gd name="connsiteY1" fmla="*/ 880581 h 3896379"/>
              <a:gd name="connsiteX2" fmla="*/ 4826593 w 7236327"/>
              <a:gd name="connsiteY2" fmla="*/ 414569 h 3896379"/>
              <a:gd name="connsiteX3" fmla="*/ 5114396 w 7236327"/>
              <a:gd name="connsiteY3" fmla="*/ 99769 h 3896379"/>
              <a:gd name="connsiteX4" fmla="*/ 5412344 w 7236327"/>
              <a:gd name="connsiteY4" fmla="*/ 442302 h 3896379"/>
              <a:gd name="connsiteX5" fmla="*/ 5721169 w 7236327"/>
              <a:gd name="connsiteY5" fmla="*/ 3708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1 w 7236327"/>
              <a:gd name="connsiteY1" fmla="*/ 880581 h 3896379"/>
              <a:gd name="connsiteX2" fmla="*/ 4910040 w 7236327"/>
              <a:gd name="connsiteY2" fmla="*/ 577091 h 3896379"/>
              <a:gd name="connsiteX3" fmla="*/ 5114396 w 7236327"/>
              <a:gd name="connsiteY3" fmla="*/ 99769 h 3896379"/>
              <a:gd name="connsiteX4" fmla="*/ 5412344 w 7236327"/>
              <a:gd name="connsiteY4" fmla="*/ 442302 h 3896379"/>
              <a:gd name="connsiteX5" fmla="*/ 5721169 w 7236327"/>
              <a:gd name="connsiteY5" fmla="*/ 3708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1 w 7236327"/>
              <a:gd name="connsiteY1" fmla="*/ 880581 h 3896379"/>
              <a:gd name="connsiteX2" fmla="*/ 4843283 w 7236327"/>
              <a:gd name="connsiteY2" fmla="*/ 436731 h 3896379"/>
              <a:gd name="connsiteX3" fmla="*/ 5114396 w 7236327"/>
              <a:gd name="connsiteY3" fmla="*/ 99769 h 3896379"/>
              <a:gd name="connsiteX4" fmla="*/ 5412344 w 7236327"/>
              <a:gd name="connsiteY4" fmla="*/ 442302 h 3896379"/>
              <a:gd name="connsiteX5" fmla="*/ 5721169 w 7236327"/>
              <a:gd name="connsiteY5" fmla="*/ 3708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1043104 h 3896379"/>
              <a:gd name="connsiteX2" fmla="*/ 4843283 w 7236327"/>
              <a:gd name="connsiteY2" fmla="*/ 436731 h 3896379"/>
              <a:gd name="connsiteX3" fmla="*/ 5114396 w 7236327"/>
              <a:gd name="connsiteY3" fmla="*/ 99769 h 3896379"/>
              <a:gd name="connsiteX4" fmla="*/ 5412344 w 7236327"/>
              <a:gd name="connsiteY4" fmla="*/ 442302 h 3896379"/>
              <a:gd name="connsiteX5" fmla="*/ 5721169 w 7236327"/>
              <a:gd name="connsiteY5" fmla="*/ 3708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14396 w 7236327"/>
              <a:gd name="connsiteY3" fmla="*/ 99769 h 3896379"/>
              <a:gd name="connsiteX4" fmla="*/ 5412344 w 7236327"/>
              <a:gd name="connsiteY4" fmla="*/ 442302 h 3896379"/>
              <a:gd name="connsiteX5" fmla="*/ 5721169 w 7236327"/>
              <a:gd name="connsiteY5" fmla="*/ 3708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12344 w 7236327"/>
              <a:gd name="connsiteY4" fmla="*/ 442302 h 3896379"/>
              <a:gd name="connsiteX5" fmla="*/ 5721169 w 7236327"/>
              <a:gd name="connsiteY5" fmla="*/ 3708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12344 w 7236327"/>
              <a:gd name="connsiteY4" fmla="*/ 442302 h 3896379"/>
              <a:gd name="connsiteX5" fmla="*/ 5724878 w 7236327"/>
              <a:gd name="connsiteY5" fmla="*/ 3905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19118 w 7236327"/>
              <a:gd name="connsiteY6" fmla="*/ 1398034 h 3896379"/>
              <a:gd name="connsiteX7" fmla="*/ 6314354 w 7236327"/>
              <a:gd name="connsiteY7" fmla="*/ 10030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19118 w 7236327"/>
              <a:gd name="connsiteY6" fmla="*/ 1398034 h 3896379"/>
              <a:gd name="connsiteX7" fmla="*/ 6336607 w 7236327"/>
              <a:gd name="connsiteY7" fmla="*/ 10227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19068 w 7236327"/>
              <a:gd name="connsiteY8" fmla="*/ 889047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34657 w 7236327"/>
              <a:gd name="connsiteY9" fmla="*/ 960337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6327 w 7236327"/>
              <a:gd name="connsiteY10" fmla="*/ 897551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15106 w 7236327"/>
              <a:gd name="connsiteY26" fmla="*/ 880001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13104 w 7236327"/>
              <a:gd name="connsiteY25" fmla="*/ 13315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27954 w 7236327"/>
              <a:gd name="connsiteY24" fmla="*/ 1469706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67872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8234 w 7236327"/>
              <a:gd name="connsiteY22" fmla="*/ 1612071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17898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71197 w 7236327"/>
              <a:gd name="connsiteY14" fmla="*/ 1203847 h 3896379"/>
              <a:gd name="connsiteX15" fmla="*/ 576640 w 7236327"/>
              <a:gd name="connsiteY15" fmla="*/ 1352372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905029 w 7236327"/>
              <a:gd name="connsiteY16" fmla="*/ 1573915 h 3896379"/>
              <a:gd name="connsiteX17" fmla="*/ 1186067 w 7236327"/>
              <a:gd name="connsiteY17" fmla="*/ 1397835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905029 w 7236327"/>
              <a:gd name="connsiteY16" fmla="*/ 1573915 h 3896379"/>
              <a:gd name="connsiteX17" fmla="*/ 1204611 w 7236327"/>
              <a:gd name="connsiteY17" fmla="*/ 1417534 h 3896379"/>
              <a:gd name="connsiteX18" fmla="*/ 1504980 w 7236327"/>
              <a:gd name="connsiteY18" fmla="*/ 1208087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905029 w 7236327"/>
              <a:gd name="connsiteY16" fmla="*/ 1573915 h 3896379"/>
              <a:gd name="connsiteX17" fmla="*/ 1204611 w 7236327"/>
              <a:gd name="connsiteY17" fmla="*/ 1417534 h 3896379"/>
              <a:gd name="connsiteX18" fmla="*/ 1504980 w 7236327"/>
              <a:gd name="connsiteY18" fmla="*/ 1252412 h 3896379"/>
              <a:gd name="connsiteX19" fmla="*/ 1786747 w 7236327"/>
              <a:gd name="connsiteY19" fmla="*/ 1612651 h 3896379"/>
              <a:gd name="connsiteX20" fmla="*/ 2108372 w 7236327"/>
              <a:gd name="connsiteY20" fmla="*/ 17449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905029 w 7236327"/>
              <a:gd name="connsiteY16" fmla="*/ 1573915 h 3896379"/>
              <a:gd name="connsiteX17" fmla="*/ 1204611 w 7236327"/>
              <a:gd name="connsiteY17" fmla="*/ 1417534 h 3896379"/>
              <a:gd name="connsiteX18" fmla="*/ 1504980 w 7236327"/>
              <a:gd name="connsiteY18" fmla="*/ 1252412 h 3896379"/>
              <a:gd name="connsiteX19" fmla="*/ 1794165 w 7236327"/>
              <a:gd name="connsiteY19" fmla="*/ 1652051 h 3896379"/>
              <a:gd name="connsiteX20" fmla="*/ 2108372 w 7236327"/>
              <a:gd name="connsiteY20" fmla="*/ 17449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905029 w 7236327"/>
              <a:gd name="connsiteY16" fmla="*/ 1573915 h 3896379"/>
              <a:gd name="connsiteX17" fmla="*/ 1204611 w 7236327"/>
              <a:gd name="connsiteY17" fmla="*/ 1417534 h 3896379"/>
              <a:gd name="connsiteX18" fmla="*/ 1504980 w 7236327"/>
              <a:gd name="connsiteY18" fmla="*/ 1252412 h 3896379"/>
              <a:gd name="connsiteX19" fmla="*/ 1794165 w 7236327"/>
              <a:gd name="connsiteY19" fmla="*/ 1652051 h 3896379"/>
              <a:gd name="connsiteX20" fmla="*/ 2100954 w 7236327"/>
              <a:gd name="connsiteY20" fmla="*/ 1764692 h 3896379"/>
              <a:gd name="connsiteX21" fmla="*/ 2416468 w 7236327"/>
              <a:gd name="connsiteY21" fmla="*/ 157873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905029 w 7236327"/>
              <a:gd name="connsiteY16" fmla="*/ 1573915 h 3896379"/>
              <a:gd name="connsiteX17" fmla="*/ 1204611 w 7236327"/>
              <a:gd name="connsiteY17" fmla="*/ 1417534 h 3896379"/>
              <a:gd name="connsiteX18" fmla="*/ 1504980 w 7236327"/>
              <a:gd name="connsiteY18" fmla="*/ 1252412 h 3896379"/>
              <a:gd name="connsiteX19" fmla="*/ 1794165 w 7236327"/>
              <a:gd name="connsiteY19" fmla="*/ 1652051 h 3896379"/>
              <a:gd name="connsiteX20" fmla="*/ 2100954 w 7236327"/>
              <a:gd name="connsiteY20" fmla="*/ 1764692 h 3896379"/>
              <a:gd name="connsiteX21" fmla="*/ 2416468 w 7236327"/>
              <a:gd name="connsiteY21" fmla="*/ 160828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 name="connsiteX0" fmla="*/ 4224180 w 7236327"/>
              <a:gd name="connsiteY0" fmla="*/ 0 h 3896379"/>
              <a:gd name="connsiteX1" fmla="*/ 4521152 w 7236327"/>
              <a:gd name="connsiteY1" fmla="*/ 924906 h 3896379"/>
              <a:gd name="connsiteX2" fmla="*/ 4843283 w 7236327"/>
              <a:gd name="connsiteY2" fmla="*/ 436731 h 3896379"/>
              <a:gd name="connsiteX3" fmla="*/ 5136649 w 7236327"/>
              <a:gd name="connsiteY3" fmla="*/ 139169 h 3896379"/>
              <a:gd name="connsiteX4" fmla="*/ 5438306 w 7236327"/>
              <a:gd name="connsiteY4" fmla="*/ 491551 h 3896379"/>
              <a:gd name="connsiteX5" fmla="*/ 5724878 w 7236327"/>
              <a:gd name="connsiteY5" fmla="*/ 390530 h 3896379"/>
              <a:gd name="connsiteX6" fmla="*/ 6048788 w 7236327"/>
              <a:gd name="connsiteY6" fmla="*/ 1442359 h 3896379"/>
              <a:gd name="connsiteX7" fmla="*/ 6336607 w 7236327"/>
              <a:gd name="connsiteY7" fmla="*/ 1022797 h 3896379"/>
              <a:gd name="connsiteX8" fmla="*/ 6637612 w 7236327"/>
              <a:gd name="connsiteY8" fmla="*/ 913672 h 3896379"/>
              <a:gd name="connsiteX9" fmla="*/ 6956909 w 7236327"/>
              <a:gd name="connsiteY9" fmla="*/ 994811 h 3896379"/>
              <a:gd name="connsiteX10" fmla="*/ 7232618 w 7236327"/>
              <a:gd name="connsiteY10" fmla="*/ 927100 h 3896379"/>
              <a:gd name="connsiteX11" fmla="*/ 7236327 w 7236327"/>
              <a:gd name="connsiteY11" fmla="*/ 3873894 h 3896379"/>
              <a:gd name="connsiteX12" fmla="*/ 7448 w 7236327"/>
              <a:gd name="connsiteY12" fmla="*/ 3896379 h 3896379"/>
              <a:gd name="connsiteX13" fmla="*/ 0 w 7236327"/>
              <a:gd name="connsiteY13" fmla="*/ 969449 h 3896379"/>
              <a:gd name="connsiteX14" fmla="*/ 263779 w 7236327"/>
              <a:gd name="connsiteY14" fmla="*/ 1233397 h 3896379"/>
              <a:gd name="connsiteX15" fmla="*/ 576640 w 7236327"/>
              <a:gd name="connsiteY15" fmla="*/ 1352372 h 3896379"/>
              <a:gd name="connsiteX16" fmla="*/ 890194 w 7236327"/>
              <a:gd name="connsiteY16" fmla="*/ 1588690 h 3896379"/>
              <a:gd name="connsiteX17" fmla="*/ 1204611 w 7236327"/>
              <a:gd name="connsiteY17" fmla="*/ 1417534 h 3896379"/>
              <a:gd name="connsiteX18" fmla="*/ 1504980 w 7236327"/>
              <a:gd name="connsiteY18" fmla="*/ 1252412 h 3896379"/>
              <a:gd name="connsiteX19" fmla="*/ 1794165 w 7236327"/>
              <a:gd name="connsiteY19" fmla="*/ 1652051 h 3896379"/>
              <a:gd name="connsiteX20" fmla="*/ 2100954 w 7236327"/>
              <a:gd name="connsiteY20" fmla="*/ 1764692 h 3896379"/>
              <a:gd name="connsiteX21" fmla="*/ 2416468 w 7236327"/>
              <a:gd name="connsiteY21" fmla="*/ 1608285 h 3896379"/>
              <a:gd name="connsiteX22" fmla="*/ 2694525 w 7236327"/>
              <a:gd name="connsiteY22" fmla="*/ 1641620 h 3896379"/>
              <a:gd name="connsiteX23" fmla="*/ 3013095 w 7236327"/>
              <a:gd name="connsiteY23" fmla="*/ 1708272 h 3896379"/>
              <a:gd name="connsiteX24" fmla="*/ 3339080 w 7236327"/>
              <a:gd name="connsiteY24" fmla="*/ 1489405 h 3896379"/>
              <a:gd name="connsiteX25" fmla="*/ 3620522 w 7236327"/>
              <a:gd name="connsiteY25" fmla="*/ 1351266 h 3896379"/>
              <a:gd name="connsiteX26" fmla="*/ 3926233 w 7236327"/>
              <a:gd name="connsiteY26" fmla="*/ 904626 h 3896379"/>
              <a:gd name="connsiteX27" fmla="*/ 4224180 w 7236327"/>
              <a:gd name="connsiteY27" fmla="*/ 0 h 3896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236327" h="3896379">
                <a:moveTo>
                  <a:pt x="4224180" y="0"/>
                </a:moveTo>
                <a:lnTo>
                  <a:pt x="4521152" y="924906"/>
                </a:lnTo>
                <a:lnTo>
                  <a:pt x="4843283" y="436731"/>
                </a:lnTo>
                <a:lnTo>
                  <a:pt x="5136649" y="139169"/>
                </a:lnTo>
                <a:lnTo>
                  <a:pt x="5438306" y="491551"/>
                </a:lnTo>
                <a:lnTo>
                  <a:pt x="5724878" y="390530"/>
                </a:lnTo>
                <a:cubicBezTo>
                  <a:pt x="5823067" y="739094"/>
                  <a:pt x="5940452" y="1107661"/>
                  <a:pt x="6048788" y="1442359"/>
                </a:cubicBezTo>
                <a:lnTo>
                  <a:pt x="6336607" y="1022797"/>
                </a:lnTo>
                <a:lnTo>
                  <a:pt x="6637612" y="913672"/>
                </a:lnTo>
                <a:lnTo>
                  <a:pt x="6956909" y="994811"/>
                </a:lnTo>
                <a:lnTo>
                  <a:pt x="7232618" y="927100"/>
                </a:lnTo>
                <a:cubicBezTo>
                  <a:pt x="7233854" y="1909365"/>
                  <a:pt x="7235091" y="2891629"/>
                  <a:pt x="7236327" y="3873894"/>
                </a:cubicBezTo>
                <a:lnTo>
                  <a:pt x="7448" y="3896379"/>
                </a:lnTo>
                <a:cubicBezTo>
                  <a:pt x="4965" y="2920736"/>
                  <a:pt x="2483" y="1945092"/>
                  <a:pt x="0" y="969449"/>
                </a:cubicBezTo>
                <a:lnTo>
                  <a:pt x="263779" y="1233397"/>
                </a:lnTo>
                <a:lnTo>
                  <a:pt x="576640" y="1352372"/>
                </a:lnTo>
                <a:lnTo>
                  <a:pt x="890194" y="1588690"/>
                </a:lnTo>
                <a:lnTo>
                  <a:pt x="1204611" y="1417534"/>
                </a:lnTo>
                <a:lnTo>
                  <a:pt x="1504980" y="1252412"/>
                </a:lnTo>
                <a:lnTo>
                  <a:pt x="1794165" y="1652051"/>
                </a:lnTo>
                <a:lnTo>
                  <a:pt x="2100954" y="1764692"/>
                </a:lnTo>
                <a:lnTo>
                  <a:pt x="2416468" y="1608285"/>
                </a:lnTo>
                <a:lnTo>
                  <a:pt x="2694525" y="1641620"/>
                </a:lnTo>
                <a:lnTo>
                  <a:pt x="3013095" y="1708272"/>
                </a:lnTo>
                <a:lnTo>
                  <a:pt x="3339080" y="1489405"/>
                </a:lnTo>
                <a:lnTo>
                  <a:pt x="3620522" y="1351266"/>
                </a:lnTo>
                <a:lnTo>
                  <a:pt x="3926233" y="904626"/>
                </a:lnTo>
                <a:lnTo>
                  <a:pt x="4224180" y="0"/>
                </a:lnTo>
                <a:close/>
              </a:path>
            </a:pathLst>
          </a:cu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CO" sz="1200" dirty="0">
              <a:solidFill>
                <a:srgbClr val="000000"/>
              </a:solidFill>
              <a:latin typeface="Arial"/>
            </a:endParaRPr>
          </a:p>
        </p:txBody>
      </p:sp>
      <p:sp>
        <p:nvSpPr>
          <p:cNvPr id="45" name="Freeform 44"/>
          <p:cNvSpPr>
            <a:spLocks/>
          </p:cNvSpPr>
          <p:nvPr/>
        </p:nvSpPr>
        <p:spPr bwMode="auto">
          <a:xfrm>
            <a:off x="984800" y="2671394"/>
            <a:ext cx="10315660" cy="3057730"/>
          </a:xfrm>
          <a:custGeom>
            <a:avLst/>
            <a:gdLst>
              <a:gd name="connsiteX0" fmla="*/ 7590517 w 7590517"/>
              <a:gd name="connsiteY0" fmla="*/ 0 h 3027633"/>
              <a:gd name="connsiteX1" fmla="*/ 7590517 w 7590517"/>
              <a:gd name="connsiteY1" fmla="*/ 3027633 h 3027633"/>
              <a:gd name="connsiteX2" fmla="*/ 7565119 w 7590517"/>
              <a:gd name="connsiteY2" fmla="*/ 3026518 h 3027633"/>
              <a:gd name="connsiteX3" fmla="*/ 7565119 w 7590517"/>
              <a:gd name="connsiteY3" fmla="*/ 3027633 h 3027633"/>
              <a:gd name="connsiteX4" fmla="*/ 0 w 7590517"/>
              <a:gd name="connsiteY4" fmla="*/ 3027633 h 3027633"/>
              <a:gd name="connsiteX5" fmla="*/ 0 w 7590517"/>
              <a:gd name="connsiteY5" fmla="*/ 2438937 h 3027633"/>
              <a:gd name="connsiteX6" fmla="*/ 290186 w 7590517"/>
              <a:gd name="connsiteY6" fmla="*/ 2457042 h 3027633"/>
              <a:gd name="connsiteX7" fmla="*/ 595114 w 7590517"/>
              <a:gd name="connsiteY7" fmla="*/ 2514119 h 3027633"/>
              <a:gd name="connsiteX8" fmla="*/ 900041 w 7590517"/>
              <a:gd name="connsiteY8" fmla="*/ 2523632 h 3027633"/>
              <a:gd name="connsiteX9" fmla="*/ 1204969 w 7590517"/>
              <a:gd name="connsiteY9" fmla="*/ 2495094 h 3027633"/>
              <a:gd name="connsiteX10" fmla="*/ 1500367 w 7590517"/>
              <a:gd name="connsiteY10" fmla="*/ 2495094 h 3027633"/>
              <a:gd name="connsiteX11" fmla="*/ 1805295 w 7590517"/>
              <a:gd name="connsiteY11" fmla="*/ 2476068 h 3027633"/>
              <a:gd name="connsiteX12" fmla="*/ 2110222 w 7590517"/>
              <a:gd name="connsiteY12" fmla="*/ 2390452 h 3027633"/>
              <a:gd name="connsiteX13" fmla="*/ 2415150 w 7590517"/>
              <a:gd name="connsiteY13" fmla="*/ 2295324 h 3027633"/>
              <a:gd name="connsiteX14" fmla="*/ 2720077 w 7590517"/>
              <a:gd name="connsiteY14" fmla="*/ 2124093 h 3027633"/>
              <a:gd name="connsiteX15" fmla="*/ 3025005 w 7590517"/>
              <a:gd name="connsiteY15" fmla="*/ 1952862 h 3027633"/>
              <a:gd name="connsiteX16" fmla="*/ 3329932 w 7590517"/>
              <a:gd name="connsiteY16" fmla="*/ 1838708 h 3027633"/>
              <a:gd name="connsiteX17" fmla="*/ 3634860 w 7590517"/>
              <a:gd name="connsiteY17" fmla="*/ 1724554 h 3027633"/>
              <a:gd name="connsiteX18" fmla="*/ 3930258 w 7590517"/>
              <a:gd name="connsiteY18" fmla="*/ 1600887 h 3027633"/>
              <a:gd name="connsiteX19" fmla="*/ 4235185 w 7590517"/>
              <a:gd name="connsiteY19" fmla="*/ 1496246 h 3027633"/>
              <a:gd name="connsiteX20" fmla="*/ 4540113 w 7590517"/>
              <a:gd name="connsiteY20" fmla="*/ 1448682 h 3027633"/>
              <a:gd name="connsiteX21" fmla="*/ 4845041 w 7590517"/>
              <a:gd name="connsiteY21" fmla="*/ 1334528 h 3027633"/>
              <a:gd name="connsiteX22" fmla="*/ 5149968 w 7590517"/>
              <a:gd name="connsiteY22" fmla="*/ 1077681 h 3027633"/>
              <a:gd name="connsiteX23" fmla="*/ 5454895 w 7590517"/>
              <a:gd name="connsiteY23" fmla="*/ 1058656 h 3027633"/>
              <a:gd name="connsiteX24" fmla="*/ 5759823 w 7590517"/>
              <a:gd name="connsiteY24" fmla="*/ 1229887 h 3027633"/>
              <a:gd name="connsiteX25" fmla="*/ 6064751 w 7590517"/>
              <a:gd name="connsiteY25" fmla="*/ 1011091 h 3027633"/>
              <a:gd name="connsiteX26" fmla="*/ 6360149 w 7590517"/>
              <a:gd name="connsiteY26" fmla="*/ 954014 h 3027633"/>
              <a:gd name="connsiteX27" fmla="*/ 6665077 w 7590517"/>
              <a:gd name="connsiteY27" fmla="*/ 849373 h 3027633"/>
              <a:gd name="connsiteX28" fmla="*/ 6970003 w 7590517"/>
              <a:gd name="connsiteY28" fmla="*/ 668629 h 3027633"/>
              <a:gd name="connsiteX29" fmla="*/ 7274931 w 7590517"/>
              <a:gd name="connsiteY29" fmla="*/ 250065 h 3027633"/>
              <a:gd name="connsiteX30" fmla="*/ 7489245 w 7590517"/>
              <a:gd name="connsiteY30" fmla="*/ 102974 h 3027633"/>
              <a:gd name="connsiteX31" fmla="*/ 7504793 w 7590517"/>
              <a:gd name="connsiteY31" fmla="*/ 51669 h 3027633"/>
              <a:gd name="connsiteX0" fmla="*/ 7590517 w 7590517"/>
              <a:gd name="connsiteY0" fmla="*/ 0 h 3027633"/>
              <a:gd name="connsiteX1" fmla="*/ 7590517 w 7590517"/>
              <a:gd name="connsiteY1" fmla="*/ 3027633 h 3027633"/>
              <a:gd name="connsiteX2" fmla="*/ 7565119 w 7590517"/>
              <a:gd name="connsiteY2" fmla="*/ 3026518 h 3027633"/>
              <a:gd name="connsiteX3" fmla="*/ 7565119 w 7590517"/>
              <a:gd name="connsiteY3" fmla="*/ 3027633 h 3027633"/>
              <a:gd name="connsiteX4" fmla="*/ 0 w 7590517"/>
              <a:gd name="connsiteY4" fmla="*/ 3027633 h 3027633"/>
              <a:gd name="connsiteX5" fmla="*/ 0 w 7590517"/>
              <a:gd name="connsiteY5" fmla="*/ 2438937 h 3027633"/>
              <a:gd name="connsiteX6" fmla="*/ 290186 w 7590517"/>
              <a:gd name="connsiteY6" fmla="*/ 2457042 h 3027633"/>
              <a:gd name="connsiteX7" fmla="*/ 595114 w 7590517"/>
              <a:gd name="connsiteY7" fmla="*/ 2514119 h 3027633"/>
              <a:gd name="connsiteX8" fmla="*/ 900041 w 7590517"/>
              <a:gd name="connsiteY8" fmla="*/ 2523632 h 3027633"/>
              <a:gd name="connsiteX9" fmla="*/ 1204969 w 7590517"/>
              <a:gd name="connsiteY9" fmla="*/ 2495094 h 3027633"/>
              <a:gd name="connsiteX10" fmla="*/ 1500367 w 7590517"/>
              <a:gd name="connsiteY10" fmla="*/ 2495094 h 3027633"/>
              <a:gd name="connsiteX11" fmla="*/ 1805295 w 7590517"/>
              <a:gd name="connsiteY11" fmla="*/ 2476068 h 3027633"/>
              <a:gd name="connsiteX12" fmla="*/ 2110222 w 7590517"/>
              <a:gd name="connsiteY12" fmla="*/ 2390452 h 3027633"/>
              <a:gd name="connsiteX13" fmla="*/ 2415150 w 7590517"/>
              <a:gd name="connsiteY13" fmla="*/ 2295324 h 3027633"/>
              <a:gd name="connsiteX14" fmla="*/ 2720077 w 7590517"/>
              <a:gd name="connsiteY14" fmla="*/ 2124093 h 3027633"/>
              <a:gd name="connsiteX15" fmla="*/ 3025005 w 7590517"/>
              <a:gd name="connsiteY15" fmla="*/ 1952862 h 3027633"/>
              <a:gd name="connsiteX16" fmla="*/ 3329932 w 7590517"/>
              <a:gd name="connsiteY16" fmla="*/ 1838708 h 3027633"/>
              <a:gd name="connsiteX17" fmla="*/ 3634860 w 7590517"/>
              <a:gd name="connsiteY17" fmla="*/ 1724554 h 3027633"/>
              <a:gd name="connsiteX18" fmla="*/ 3930258 w 7590517"/>
              <a:gd name="connsiteY18" fmla="*/ 1600887 h 3027633"/>
              <a:gd name="connsiteX19" fmla="*/ 4235185 w 7590517"/>
              <a:gd name="connsiteY19" fmla="*/ 1496246 h 3027633"/>
              <a:gd name="connsiteX20" fmla="*/ 4540113 w 7590517"/>
              <a:gd name="connsiteY20" fmla="*/ 1448682 h 3027633"/>
              <a:gd name="connsiteX21" fmla="*/ 4845041 w 7590517"/>
              <a:gd name="connsiteY21" fmla="*/ 1334528 h 3027633"/>
              <a:gd name="connsiteX22" fmla="*/ 5149968 w 7590517"/>
              <a:gd name="connsiteY22" fmla="*/ 1077681 h 3027633"/>
              <a:gd name="connsiteX23" fmla="*/ 5454895 w 7590517"/>
              <a:gd name="connsiteY23" fmla="*/ 1058656 h 3027633"/>
              <a:gd name="connsiteX24" fmla="*/ 5759823 w 7590517"/>
              <a:gd name="connsiteY24" fmla="*/ 1229887 h 3027633"/>
              <a:gd name="connsiteX25" fmla="*/ 6064751 w 7590517"/>
              <a:gd name="connsiteY25" fmla="*/ 1011091 h 3027633"/>
              <a:gd name="connsiteX26" fmla="*/ 6360149 w 7590517"/>
              <a:gd name="connsiteY26" fmla="*/ 954014 h 3027633"/>
              <a:gd name="connsiteX27" fmla="*/ 6665077 w 7590517"/>
              <a:gd name="connsiteY27" fmla="*/ 849373 h 3027633"/>
              <a:gd name="connsiteX28" fmla="*/ 6970003 w 7590517"/>
              <a:gd name="connsiteY28" fmla="*/ 668629 h 3027633"/>
              <a:gd name="connsiteX29" fmla="*/ 7274931 w 7590517"/>
              <a:gd name="connsiteY29" fmla="*/ 250065 h 3027633"/>
              <a:gd name="connsiteX30" fmla="*/ 7489245 w 7590517"/>
              <a:gd name="connsiteY30" fmla="*/ 102974 h 3027633"/>
              <a:gd name="connsiteX31" fmla="*/ 7511143 w 7590517"/>
              <a:gd name="connsiteY31" fmla="*/ 77069 h 3027633"/>
              <a:gd name="connsiteX32" fmla="*/ 7590517 w 7590517"/>
              <a:gd name="connsiteY32" fmla="*/ 0 h 3027633"/>
              <a:gd name="connsiteX0" fmla="*/ 7590517 w 7590517"/>
              <a:gd name="connsiteY0" fmla="*/ 0 h 2965720"/>
              <a:gd name="connsiteX1" fmla="*/ 7590517 w 7590517"/>
              <a:gd name="connsiteY1" fmla="*/ 2965720 h 2965720"/>
              <a:gd name="connsiteX2" fmla="*/ 7565119 w 7590517"/>
              <a:gd name="connsiteY2" fmla="*/ 2964605 h 2965720"/>
              <a:gd name="connsiteX3" fmla="*/ 7565119 w 7590517"/>
              <a:gd name="connsiteY3" fmla="*/ 2965720 h 2965720"/>
              <a:gd name="connsiteX4" fmla="*/ 0 w 7590517"/>
              <a:gd name="connsiteY4" fmla="*/ 2965720 h 2965720"/>
              <a:gd name="connsiteX5" fmla="*/ 0 w 7590517"/>
              <a:gd name="connsiteY5" fmla="*/ 2377024 h 2965720"/>
              <a:gd name="connsiteX6" fmla="*/ 290186 w 7590517"/>
              <a:gd name="connsiteY6" fmla="*/ 2395129 h 2965720"/>
              <a:gd name="connsiteX7" fmla="*/ 595114 w 7590517"/>
              <a:gd name="connsiteY7" fmla="*/ 2452206 h 2965720"/>
              <a:gd name="connsiteX8" fmla="*/ 900041 w 7590517"/>
              <a:gd name="connsiteY8" fmla="*/ 2461719 h 2965720"/>
              <a:gd name="connsiteX9" fmla="*/ 1204969 w 7590517"/>
              <a:gd name="connsiteY9" fmla="*/ 2433181 h 2965720"/>
              <a:gd name="connsiteX10" fmla="*/ 1500367 w 7590517"/>
              <a:gd name="connsiteY10" fmla="*/ 2433181 h 2965720"/>
              <a:gd name="connsiteX11" fmla="*/ 1805295 w 7590517"/>
              <a:gd name="connsiteY11" fmla="*/ 2414155 h 2965720"/>
              <a:gd name="connsiteX12" fmla="*/ 2110222 w 7590517"/>
              <a:gd name="connsiteY12" fmla="*/ 2328539 h 2965720"/>
              <a:gd name="connsiteX13" fmla="*/ 2415150 w 7590517"/>
              <a:gd name="connsiteY13" fmla="*/ 2233411 h 2965720"/>
              <a:gd name="connsiteX14" fmla="*/ 2720077 w 7590517"/>
              <a:gd name="connsiteY14" fmla="*/ 2062180 h 2965720"/>
              <a:gd name="connsiteX15" fmla="*/ 3025005 w 7590517"/>
              <a:gd name="connsiteY15" fmla="*/ 1890949 h 2965720"/>
              <a:gd name="connsiteX16" fmla="*/ 3329932 w 7590517"/>
              <a:gd name="connsiteY16" fmla="*/ 1776795 h 2965720"/>
              <a:gd name="connsiteX17" fmla="*/ 3634860 w 7590517"/>
              <a:gd name="connsiteY17" fmla="*/ 1662641 h 2965720"/>
              <a:gd name="connsiteX18" fmla="*/ 3930258 w 7590517"/>
              <a:gd name="connsiteY18" fmla="*/ 1538974 h 2965720"/>
              <a:gd name="connsiteX19" fmla="*/ 4235185 w 7590517"/>
              <a:gd name="connsiteY19" fmla="*/ 1434333 h 2965720"/>
              <a:gd name="connsiteX20" fmla="*/ 4540113 w 7590517"/>
              <a:gd name="connsiteY20" fmla="*/ 1386769 h 2965720"/>
              <a:gd name="connsiteX21" fmla="*/ 4845041 w 7590517"/>
              <a:gd name="connsiteY21" fmla="*/ 1272615 h 2965720"/>
              <a:gd name="connsiteX22" fmla="*/ 5149968 w 7590517"/>
              <a:gd name="connsiteY22" fmla="*/ 1015768 h 2965720"/>
              <a:gd name="connsiteX23" fmla="*/ 5454895 w 7590517"/>
              <a:gd name="connsiteY23" fmla="*/ 996743 h 2965720"/>
              <a:gd name="connsiteX24" fmla="*/ 5759823 w 7590517"/>
              <a:gd name="connsiteY24" fmla="*/ 1167974 h 2965720"/>
              <a:gd name="connsiteX25" fmla="*/ 6064751 w 7590517"/>
              <a:gd name="connsiteY25" fmla="*/ 949178 h 2965720"/>
              <a:gd name="connsiteX26" fmla="*/ 6360149 w 7590517"/>
              <a:gd name="connsiteY26" fmla="*/ 892101 h 2965720"/>
              <a:gd name="connsiteX27" fmla="*/ 6665077 w 7590517"/>
              <a:gd name="connsiteY27" fmla="*/ 787460 h 2965720"/>
              <a:gd name="connsiteX28" fmla="*/ 6970003 w 7590517"/>
              <a:gd name="connsiteY28" fmla="*/ 606716 h 2965720"/>
              <a:gd name="connsiteX29" fmla="*/ 7274931 w 7590517"/>
              <a:gd name="connsiteY29" fmla="*/ 188152 h 2965720"/>
              <a:gd name="connsiteX30" fmla="*/ 7489245 w 7590517"/>
              <a:gd name="connsiteY30" fmla="*/ 41061 h 2965720"/>
              <a:gd name="connsiteX31" fmla="*/ 7511143 w 7590517"/>
              <a:gd name="connsiteY31" fmla="*/ 15156 h 2965720"/>
              <a:gd name="connsiteX32" fmla="*/ 7590517 w 7590517"/>
              <a:gd name="connsiteY32" fmla="*/ 0 h 2965720"/>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49968 w 7590517"/>
              <a:gd name="connsiteY22" fmla="*/ 1041961 h 2991913"/>
              <a:gd name="connsiteX23" fmla="*/ 5454895 w 7590517"/>
              <a:gd name="connsiteY23" fmla="*/ 1022936 h 2991913"/>
              <a:gd name="connsiteX24" fmla="*/ 5759823 w 7590517"/>
              <a:gd name="connsiteY24" fmla="*/ 1194167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11143 w 7590517"/>
              <a:gd name="connsiteY31" fmla="*/ 41349 h 2991913"/>
              <a:gd name="connsiteX32" fmla="*/ 7590517 w 7590517"/>
              <a:gd name="connsiteY32"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49968 w 7590517"/>
              <a:gd name="connsiteY22" fmla="*/ 1041961 h 2991913"/>
              <a:gd name="connsiteX23" fmla="*/ 5454895 w 7590517"/>
              <a:gd name="connsiteY23" fmla="*/ 1022936 h 2991913"/>
              <a:gd name="connsiteX24" fmla="*/ 5759823 w 7590517"/>
              <a:gd name="connsiteY24" fmla="*/ 1194167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23050 w 7590517"/>
              <a:gd name="connsiteY31" fmla="*/ 55637 h 2991913"/>
              <a:gd name="connsiteX32" fmla="*/ 7590517 w 7590517"/>
              <a:gd name="connsiteY32"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49968 w 7590517"/>
              <a:gd name="connsiteY22" fmla="*/ 1041961 h 2991913"/>
              <a:gd name="connsiteX23" fmla="*/ 5454895 w 7590517"/>
              <a:gd name="connsiteY23" fmla="*/ 1022936 h 2991913"/>
              <a:gd name="connsiteX24" fmla="*/ 5759823 w 7590517"/>
              <a:gd name="connsiteY24" fmla="*/ 1194167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23050 w 7590517"/>
              <a:gd name="connsiteY31" fmla="*/ 55637 h 2991913"/>
              <a:gd name="connsiteX32" fmla="*/ 7590517 w 7590517"/>
              <a:gd name="connsiteY32"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49968 w 7590517"/>
              <a:gd name="connsiteY22" fmla="*/ 1041961 h 2991913"/>
              <a:gd name="connsiteX23" fmla="*/ 5454895 w 7590517"/>
              <a:gd name="connsiteY23" fmla="*/ 1022936 h 2991913"/>
              <a:gd name="connsiteX24" fmla="*/ 5759823 w 7590517"/>
              <a:gd name="connsiteY24" fmla="*/ 1194167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54895 w 7590517"/>
              <a:gd name="connsiteY23" fmla="*/ 1022936 h 2991913"/>
              <a:gd name="connsiteX24" fmla="*/ 5759823 w 7590517"/>
              <a:gd name="connsiteY24" fmla="*/ 1194167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92275 w 7590517"/>
              <a:gd name="connsiteY23" fmla="*/ 992710 h 2991913"/>
              <a:gd name="connsiteX24" fmla="*/ 5759823 w 7590517"/>
              <a:gd name="connsiteY24" fmla="*/ 1194167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92275 w 7590517"/>
              <a:gd name="connsiteY23" fmla="*/ 992710 h 2991913"/>
              <a:gd name="connsiteX24" fmla="*/ 5782251 w 7590517"/>
              <a:gd name="connsiteY24" fmla="*/ 1158904 h 2991913"/>
              <a:gd name="connsiteX25" fmla="*/ 6064751 w 7590517"/>
              <a:gd name="connsiteY25" fmla="*/ 975371 h 2991913"/>
              <a:gd name="connsiteX26" fmla="*/ 6360149 w 7590517"/>
              <a:gd name="connsiteY26" fmla="*/ 918294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92275 w 7590517"/>
              <a:gd name="connsiteY23" fmla="*/ 992710 h 2991913"/>
              <a:gd name="connsiteX24" fmla="*/ 5782251 w 7590517"/>
              <a:gd name="connsiteY24" fmla="*/ 1158904 h 2991913"/>
              <a:gd name="connsiteX25" fmla="*/ 6064751 w 7590517"/>
              <a:gd name="connsiteY25" fmla="*/ 975371 h 2991913"/>
              <a:gd name="connsiteX26" fmla="*/ 6364635 w 7590517"/>
              <a:gd name="connsiteY26" fmla="*/ 894113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92275 w 7590517"/>
              <a:gd name="connsiteY23" fmla="*/ 992710 h 2991913"/>
              <a:gd name="connsiteX24" fmla="*/ 5782251 w 7590517"/>
              <a:gd name="connsiteY24" fmla="*/ 1158904 h 2991913"/>
              <a:gd name="connsiteX25" fmla="*/ 6091665 w 7590517"/>
              <a:gd name="connsiteY25" fmla="*/ 945146 h 2991913"/>
              <a:gd name="connsiteX26" fmla="*/ 6364635 w 7590517"/>
              <a:gd name="connsiteY26" fmla="*/ 894113 h 2991913"/>
              <a:gd name="connsiteX27" fmla="*/ 6665077 w 7590517"/>
              <a:gd name="connsiteY27" fmla="*/ 813653 h 2991913"/>
              <a:gd name="connsiteX28" fmla="*/ 6970003 w 7590517"/>
              <a:gd name="connsiteY28" fmla="*/ 632909 h 2991913"/>
              <a:gd name="connsiteX29" fmla="*/ 7274931 w 7590517"/>
              <a:gd name="connsiteY29" fmla="*/ 214345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92275 w 7590517"/>
              <a:gd name="connsiteY23" fmla="*/ 992710 h 2991913"/>
              <a:gd name="connsiteX24" fmla="*/ 5782251 w 7590517"/>
              <a:gd name="connsiteY24" fmla="*/ 1158904 h 2991913"/>
              <a:gd name="connsiteX25" fmla="*/ 6091665 w 7590517"/>
              <a:gd name="connsiteY25" fmla="*/ 945146 h 2991913"/>
              <a:gd name="connsiteX26" fmla="*/ 6364635 w 7590517"/>
              <a:gd name="connsiteY26" fmla="*/ 894113 h 2991913"/>
              <a:gd name="connsiteX27" fmla="*/ 6665077 w 7590517"/>
              <a:gd name="connsiteY27" fmla="*/ 813653 h 2991913"/>
              <a:gd name="connsiteX28" fmla="*/ 6970003 w 7590517"/>
              <a:gd name="connsiteY28" fmla="*/ 632909 h 2991913"/>
              <a:gd name="connsiteX29" fmla="*/ 7302966 w 7590517"/>
              <a:gd name="connsiteY29" fmla="*/ 244571 h 2991913"/>
              <a:gd name="connsiteX30" fmla="*/ 7489245 w 7590517"/>
              <a:gd name="connsiteY30" fmla="*/ 67254 h 2991913"/>
              <a:gd name="connsiteX31" fmla="*/ 7590517 w 7590517"/>
              <a:gd name="connsiteY31" fmla="*/ 0 h 2991913"/>
              <a:gd name="connsiteX0" fmla="*/ 7590517 w 7590517"/>
              <a:gd name="connsiteY0" fmla="*/ 0 h 2991913"/>
              <a:gd name="connsiteX1" fmla="*/ 7590517 w 7590517"/>
              <a:gd name="connsiteY1" fmla="*/ 2991913 h 2991913"/>
              <a:gd name="connsiteX2" fmla="*/ 7565119 w 7590517"/>
              <a:gd name="connsiteY2" fmla="*/ 2990798 h 2991913"/>
              <a:gd name="connsiteX3" fmla="*/ 7565119 w 7590517"/>
              <a:gd name="connsiteY3" fmla="*/ 2991913 h 2991913"/>
              <a:gd name="connsiteX4" fmla="*/ 0 w 7590517"/>
              <a:gd name="connsiteY4" fmla="*/ 2991913 h 2991913"/>
              <a:gd name="connsiteX5" fmla="*/ 0 w 7590517"/>
              <a:gd name="connsiteY5" fmla="*/ 2403217 h 2991913"/>
              <a:gd name="connsiteX6" fmla="*/ 290186 w 7590517"/>
              <a:gd name="connsiteY6" fmla="*/ 2421322 h 2991913"/>
              <a:gd name="connsiteX7" fmla="*/ 595114 w 7590517"/>
              <a:gd name="connsiteY7" fmla="*/ 2478399 h 2991913"/>
              <a:gd name="connsiteX8" fmla="*/ 900041 w 7590517"/>
              <a:gd name="connsiteY8" fmla="*/ 2487912 h 2991913"/>
              <a:gd name="connsiteX9" fmla="*/ 1204969 w 7590517"/>
              <a:gd name="connsiteY9" fmla="*/ 2459374 h 2991913"/>
              <a:gd name="connsiteX10" fmla="*/ 1500367 w 7590517"/>
              <a:gd name="connsiteY10" fmla="*/ 2459374 h 2991913"/>
              <a:gd name="connsiteX11" fmla="*/ 1805295 w 7590517"/>
              <a:gd name="connsiteY11" fmla="*/ 2440348 h 2991913"/>
              <a:gd name="connsiteX12" fmla="*/ 2110222 w 7590517"/>
              <a:gd name="connsiteY12" fmla="*/ 2354732 h 2991913"/>
              <a:gd name="connsiteX13" fmla="*/ 2415150 w 7590517"/>
              <a:gd name="connsiteY13" fmla="*/ 2259604 h 2991913"/>
              <a:gd name="connsiteX14" fmla="*/ 2720077 w 7590517"/>
              <a:gd name="connsiteY14" fmla="*/ 2088373 h 2991913"/>
              <a:gd name="connsiteX15" fmla="*/ 3025005 w 7590517"/>
              <a:gd name="connsiteY15" fmla="*/ 1917142 h 2991913"/>
              <a:gd name="connsiteX16" fmla="*/ 3329932 w 7590517"/>
              <a:gd name="connsiteY16" fmla="*/ 1802988 h 2991913"/>
              <a:gd name="connsiteX17" fmla="*/ 3634860 w 7590517"/>
              <a:gd name="connsiteY17" fmla="*/ 1688834 h 2991913"/>
              <a:gd name="connsiteX18" fmla="*/ 3930258 w 7590517"/>
              <a:gd name="connsiteY18" fmla="*/ 1565167 h 2991913"/>
              <a:gd name="connsiteX19" fmla="*/ 4235185 w 7590517"/>
              <a:gd name="connsiteY19" fmla="*/ 1460526 h 2991913"/>
              <a:gd name="connsiteX20" fmla="*/ 4540113 w 7590517"/>
              <a:gd name="connsiteY20" fmla="*/ 1412962 h 2991913"/>
              <a:gd name="connsiteX21" fmla="*/ 4845041 w 7590517"/>
              <a:gd name="connsiteY21" fmla="*/ 1298808 h 2991913"/>
              <a:gd name="connsiteX22" fmla="*/ 5176134 w 7590517"/>
              <a:gd name="connsiteY22" fmla="*/ 1011735 h 2991913"/>
              <a:gd name="connsiteX23" fmla="*/ 5492275 w 7590517"/>
              <a:gd name="connsiteY23" fmla="*/ 992710 h 2991913"/>
              <a:gd name="connsiteX24" fmla="*/ 5782251 w 7590517"/>
              <a:gd name="connsiteY24" fmla="*/ 1158904 h 2991913"/>
              <a:gd name="connsiteX25" fmla="*/ 6091665 w 7590517"/>
              <a:gd name="connsiteY25" fmla="*/ 945146 h 2991913"/>
              <a:gd name="connsiteX26" fmla="*/ 6364635 w 7590517"/>
              <a:gd name="connsiteY26" fmla="*/ 894113 h 2991913"/>
              <a:gd name="connsiteX27" fmla="*/ 6665077 w 7590517"/>
              <a:gd name="connsiteY27" fmla="*/ 813653 h 2991913"/>
              <a:gd name="connsiteX28" fmla="*/ 6970003 w 7590517"/>
              <a:gd name="connsiteY28" fmla="*/ 632909 h 2991913"/>
              <a:gd name="connsiteX29" fmla="*/ 7297359 w 7590517"/>
              <a:gd name="connsiteY29" fmla="*/ 199232 h 2991913"/>
              <a:gd name="connsiteX30" fmla="*/ 7489245 w 7590517"/>
              <a:gd name="connsiteY30" fmla="*/ 67254 h 2991913"/>
              <a:gd name="connsiteX31" fmla="*/ 7590517 w 7590517"/>
              <a:gd name="connsiteY31" fmla="*/ 0 h 2991913"/>
              <a:gd name="connsiteX0" fmla="*/ 7590517 w 7590517"/>
              <a:gd name="connsiteY0" fmla="*/ 0 h 3032214"/>
              <a:gd name="connsiteX1" fmla="*/ 7590517 w 7590517"/>
              <a:gd name="connsiteY1" fmla="*/ 3032214 h 3032214"/>
              <a:gd name="connsiteX2" fmla="*/ 7565119 w 7590517"/>
              <a:gd name="connsiteY2" fmla="*/ 3031099 h 3032214"/>
              <a:gd name="connsiteX3" fmla="*/ 7565119 w 7590517"/>
              <a:gd name="connsiteY3" fmla="*/ 3032214 h 3032214"/>
              <a:gd name="connsiteX4" fmla="*/ 0 w 7590517"/>
              <a:gd name="connsiteY4" fmla="*/ 3032214 h 3032214"/>
              <a:gd name="connsiteX5" fmla="*/ 0 w 7590517"/>
              <a:gd name="connsiteY5" fmla="*/ 2443518 h 3032214"/>
              <a:gd name="connsiteX6" fmla="*/ 290186 w 7590517"/>
              <a:gd name="connsiteY6" fmla="*/ 2461623 h 3032214"/>
              <a:gd name="connsiteX7" fmla="*/ 595114 w 7590517"/>
              <a:gd name="connsiteY7" fmla="*/ 2518700 h 3032214"/>
              <a:gd name="connsiteX8" fmla="*/ 900041 w 7590517"/>
              <a:gd name="connsiteY8" fmla="*/ 2528213 h 3032214"/>
              <a:gd name="connsiteX9" fmla="*/ 1204969 w 7590517"/>
              <a:gd name="connsiteY9" fmla="*/ 2499675 h 3032214"/>
              <a:gd name="connsiteX10" fmla="*/ 1500367 w 7590517"/>
              <a:gd name="connsiteY10" fmla="*/ 2499675 h 3032214"/>
              <a:gd name="connsiteX11" fmla="*/ 1805295 w 7590517"/>
              <a:gd name="connsiteY11" fmla="*/ 2480649 h 3032214"/>
              <a:gd name="connsiteX12" fmla="*/ 2110222 w 7590517"/>
              <a:gd name="connsiteY12" fmla="*/ 2395033 h 3032214"/>
              <a:gd name="connsiteX13" fmla="*/ 2415150 w 7590517"/>
              <a:gd name="connsiteY13" fmla="*/ 2299905 h 3032214"/>
              <a:gd name="connsiteX14" fmla="*/ 2720077 w 7590517"/>
              <a:gd name="connsiteY14" fmla="*/ 2128674 h 3032214"/>
              <a:gd name="connsiteX15" fmla="*/ 3025005 w 7590517"/>
              <a:gd name="connsiteY15" fmla="*/ 1957443 h 3032214"/>
              <a:gd name="connsiteX16" fmla="*/ 3329932 w 7590517"/>
              <a:gd name="connsiteY16" fmla="*/ 1843289 h 3032214"/>
              <a:gd name="connsiteX17" fmla="*/ 3634860 w 7590517"/>
              <a:gd name="connsiteY17" fmla="*/ 1729135 h 3032214"/>
              <a:gd name="connsiteX18" fmla="*/ 3930258 w 7590517"/>
              <a:gd name="connsiteY18" fmla="*/ 1605468 h 3032214"/>
              <a:gd name="connsiteX19" fmla="*/ 4235185 w 7590517"/>
              <a:gd name="connsiteY19" fmla="*/ 1500827 h 3032214"/>
              <a:gd name="connsiteX20" fmla="*/ 4540113 w 7590517"/>
              <a:gd name="connsiteY20" fmla="*/ 1453263 h 3032214"/>
              <a:gd name="connsiteX21" fmla="*/ 4845041 w 7590517"/>
              <a:gd name="connsiteY21" fmla="*/ 1339109 h 3032214"/>
              <a:gd name="connsiteX22" fmla="*/ 5176134 w 7590517"/>
              <a:gd name="connsiteY22" fmla="*/ 1052036 h 3032214"/>
              <a:gd name="connsiteX23" fmla="*/ 5492275 w 7590517"/>
              <a:gd name="connsiteY23" fmla="*/ 1033011 h 3032214"/>
              <a:gd name="connsiteX24" fmla="*/ 5782251 w 7590517"/>
              <a:gd name="connsiteY24" fmla="*/ 1199205 h 3032214"/>
              <a:gd name="connsiteX25" fmla="*/ 6091665 w 7590517"/>
              <a:gd name="connsiteY25" fmla="*/ 985447 h 3032214"/>
              <a:gd name="connsiteX26" fmla="*/ 6364635 w 7590517"/>
              <a:gd name="connsiteY26" fmla="*/ 934414 h 3032214"/>
              <a:gd name="connsiteX27" fmla="*/ 6665077 w 7590517"/>
              <a:gd name="connsiteY27" fmla="*/ 853954 h 3032214"/>
              <a:gd name="connsiteX28" fmla="*/ 6970003 w 7590517"/>
              <a:gd name="connsiteY28" fmla="*/ 673210 h 3032214"/>
              <a:gd name="connsiteX29" fmla="*/ 7297359 w 7590517"/>
              <a:gd name="connsiteY29" fmla="*/ 239533 h 3032214"/>
              <a:gd name="connsiteX30" fmla="*/ 7489245 w 7590517"/>
              <a:gd name="connsiteY30" fmla="*/ 107555 h 3032214"/>
              <a:gd name="connsiteX31" fmla="*/ 7590517 w 7590517"/>
              <a:gd name="connsiteY31" fmla="*/ 0 h 3032214"/>
              <a:gd name="connsiteX0" fmla="*/ 7590517 w 7590517"/>
              <a:gd name="connsiteY0" fmla="*/ 0 h 3032214"/>
              <a:gd name="connsiteX1" fmla="*/ 7590517 w 7590517"/>
              <a:gd name="connsiteY1" fmla="*/ 3032214 h 3032214"/>
              <a:gd name="connsiteX2" fmla="*/ 7565119 w 7590517"/>
              <a:gd name="connsiteY2" fmla="*/ 3031099 h 3032214"/>
              <a:gd name="connsiteX3" fmla="*/ 7565119 w 7590517"/>
              <a:gd name="connsiteY3" fmla="*/ 3032214 h 3032214"/>
              <a:gd name="connsiteX4" fmla="*/ 0 w 7590517"/>
              <a:gd name="connsiteY4" fmla="*/ 3032214 h 3032214"/>
              <a:gd name="connsiteX5" fmla="*/ 0 w 7590517"/>
              <a:gd name="connsiteY5" fmla="*/ 2443518 h 3032214"/>
              <a:gd name="connsiteX6" fmla="*/ 290186 w 7590517"/>
              <a:gd name="connsiteY6" fmla="*/ 2461623 h 3032214"/>
              <a:gd name="connsiteX7" fmla="*/ 595114 w 7590517"/>
              <a:gd name="connsiteY7" fmla="*/ 2518700 h 3032214"/>
              <a:gd name="connsiteX8" fmla="*/ 900041 w 7590517"/>
              <a:gd name="connsiteY8" fmla="*/ 2528213 h 3032214"/>
              <a:gd name="connsiteX9" fmla="*/ 1204969 w 7590517"/>
              <a:gd name="connsiteY9" fmla="*/ 2499675 h 3032214"/>
              <a:gd name="connsiteX10" fmla="*/ 1500367 w 7590517"/>
              <a:gd name="connsiteY10" fmla="*/ 2499675 h 3032214"/>
              <a:gd name="connsiteX11" fmla="*/ 1805295 w 7590517"/>
              <a:gd name="connsiteY11" fmla="*/ 2480649 h 3032214"/>
              <a:gd name="connsiteX12" fmla="*/ 2110222 w 7590517"/>
              <a:gd name="connsiteY12" fmla="*/ 2395033 h 3032214"/>
              <a:gd name="connsiteX13" fmla="*/ 2415150 w 7590517"/>
              <a:gd name="connsiteY13" fmla="*/ 2299905 h 3032214"/>
              <a:gd name="connsiteX14" fmla="*/ 2720077 w 7590517"/>
              <a:gd name="connsiteY14" fmla="*/ 2128674 h 3032214"/>
              <a:gd name="connsiteX15" fmla="*/ 3025005 w 7590517"/>
              <a:gd name="connsiteY15" fmla="*/ 1957443 h 3032214"/>
              <a:gd name="connsiteX16" fmla="*/ 3329932 w 7590517"/>
              <a:gd name="connsiteY16" fmla="*/ 1843289 h 3032214"/>
              <a:gd name="connsiteX17" fmla="*/ 3634860 w 7590517"/>
              <a:gd name="connsiteY17" fmla="*/ 1729135 h 3032214"/>
              <a:gd name="connsiteX18" fmla="*/ 3930258 w 7590517"/>
              <a:gd name="connsiteY18" fmla="*/ 1605468 h 3032214"/>
              <a:gd name="connsiteX19" fmla="*/ 4235185 w 7590517"/>
              <a:gd name="connsiteY19" fmla="*/ 1500827 h 3032214"/>
              <a:gd name="connsiteX20" fmla="*/ 4540113 w 7590517"/>
              <a:gd name="connsiteY20" fmla="*/ 1453263 h 3032214"/>
              <a:gd name="connsiteX21" fmla="*/ 4845041 w 7590517"/>
              <a:gd name="connsiteY21" fmla="*/ 1339109 h 3032214"/>
              <a:gd name="connsiteX22" fmla="*/ 5176134 w 7590517"/>
              <a:gd name="connsiteY22" fmla="*/ 1052036 h 3032214"/>
              <a:gd name="connsiteX23" fmla="*/ 5492275 w 7590517"/>
              <a:gd name="connsiteY23" fmla="*/ 1033011 h 3032214"/>
              <a:gd name="connsiteX24" fmla="*/ 5782251 w 7590517"/>
              <a:gd name="connsiteY24" fmla="*/ 1199205 h 3032214"/>
              <a:gd name="connsiteX25" fmla="*/ 6091665 w 7590517"/>
              <a:gd name="connsiteY25" fmla="*/ 985447 h 3032214"/>
              <a:gd name="connsiteX26" fmla="*/ 6364635 w 7590517"/>
              <a:gd name="connsiteY26" fmla="*/ 934414 h 3032214"/>
              <a:gd name="connsiteX27" fmla="*/ 6665077 w 7590517"/>
              <a:gd name="connsiteY27" fmla="*/ 853954 h 3032214"/>
              <a:gd name="connsiteX28" fmla="*/ 6970003 w 7590517"/>
              <a:gd name="connsiteY28" fmla="*/ 673210 h 3032214"/>
              <a:gd name="connsiteX29" fmla="*/ 7297359 w 7590517"/>
              <a:gd name="connsiteY29" fmla="*/ 239533 h 3032214"/>
              <a:gd name="connsiteX30" fmla="*/ 7470555 w 7590517"/>
              <a:gd name="connsiteY30" fmla="*/ 97480 h 3032214"/>
              <a:gd name="connsiteX31" fmla="*/ 7590517 w 7590517"/>
              <a:gd name="connsiteY31" fmla="*/ 0 h 303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590517" h="3032214">
                <a:moveTo>
                  <a:pt x="7590517" y="0"/>
                </a:moveTo>
                <a:lnTo>
                  <a:pt x="7590517" y="3032214"/>
                </a:lnTo>
                <a:lnTo>
                  <a:pt x="7565119" y="3031099"/>
                </a:lnTo>
                <a:lnTo>
                  <a:pt x="7565119" y="3032214"/>
                </a:lnTo>
                <a:lnTo>
                  <a:pt x="0" y="3032214"/>
                </a:lnTo>
                <a:lnTo>
                  <a:pt x="0" y="2443518"/>
                </a:lnTo>
                <a:lnTo>
                  <a:pt x="290186" y="2461623"/>
                </a:lnTo>
                <a:lnTo>
                  <a:pt x="595114" y="2518700"/>
                </a:lnTo>
                <a:lnTo>
                  <a:pt x="900041" y="2528213"/>
                </a:lnTo>
                <a:lnTo>
                  <a:pt x="1204969" y="2499675"/>
                </a:lnTo>
                <a:lnTo>
                  <a:pt x="1500367" y="2499675"/>
                </a:lnTo>
                <a:lnTo>
                  <a:pt x="1805295" y="2480649"/>
                </a:lnTo>
                <a:lnTo>
                  <a:pt x="2110222" y="2395033"/>
                </a:lnTo>
                <a:lnTo>
                  <a:pt x="2415150" y="2299905"/>
                </a:lnTo>
                <a:lnTo>
                  <a:pt x="2720077" y="2128674"/>
                </a:lnTo>
                <a:lnTo>
                  <a:pt x="3025005" y="1957443"/>
                </a:lnTo>
                <a:lnTo>
                  <a:pt x="3329932" y="1843289"/>
                </a:lnTo>
                <a:lnTo>
                  <a:pt x="3634860" y="1729135"/>
                </a:lnTo>
                <a:lnTo>
                  <a:pt x="3930258" y="1605468"/>
                </a:lnTo>
                <a:lnTo>
                  <a:pt x="4235185" y="1500827"/>
                </a:lnTo>
                <a:lnTo>
                  <a:pt x="4540113" y="1453263"/>
                </a:lnTo>
                <a:lnTo>
                  <a:pt x="4845041" y="1339109"/>
                </a:lnTo>
                <a:lnTo>
                  <a:pt x="5176134" y="1052036"/>
                </a:lnTo>
                <a:lnTo>
                  <a:pt x="5492275" y="1033011"/>
                </a:lnTo>
                <a:lnTo>
                  <a:pt x="5782251" y="1199205"/>
                </a:lnTo>
                <a:lnTo>
                  <a:pt x="6091665" y="985447"/>
                </a:lnTo>
                <a:lnTo>
                  <a:pt x="6364635" y="934414"/>
                </a:lnTo>
                <a:lnTo>
                  <a:pt x="6665077" y="853954"/>
                </a:lnTo>
                <a:lnTo>
                  <a:pt x="6970003" y="673210"/>
                </a:lnTo>
                <a:lnTo>
                  <a:pt x="7297359" y="239533"/>
                </a:lnTo>
                <a:lnTo>
                  <a:pt x="7470555" y="97480"/>
                </a:lnTo>
                <a:lnTo>
                  <a:pt x="7590517" y="0"/>
                </a:lnTo>
                <a:close/>
              </a:path>
            </a:pathLst>
          </a:custGeom>
          <a:solidFill>
            <a:schemeClr val="accent2">
              <a:lumMod val="20000"/>
              <a:lumOff val="80000"/>
            </a:schemeClr>
          </a:solidFill>
          <a:ln w="28575">
            <a:noFill/>
            <a:prstDash val="solid"/>
            <a:round/>
            <a:headEnd/>
            <a:tailEnd/>
          </a:ln>
        </p:spPr>
        <p:txBody>
          <a:bodyPr vert="horz" wrap="square" lIns="68576" tIns="34288" rIns="68576" bIns="34288" numCol="1" anchor="t" anchorCtr="0" compatLnSpc="1">
            <a:prstTxWarp prst="textNoShape">
              <a:avLst/>
            </a:prstTxWarp>
            <a:noAutofit/>
          </a:bodyPr>
          <a:lstStyle/>
          <a:p>
            <a:pPr defTabSz="685750"/>
            <a:endParaRPr lang="es-CO" sz="1200" dirty="0">
              <a:solidFill>
                <a:srgbClr val="000000"/>
              </a:solidFill>
            </a:endParaRPr>
          </a:p>
        </p:txBody>
      </p:sp>
      <p:graphicFrame>
        <p:nvGraphicFramePr>
          <p:cNvPr id="46" name="Object 45"/>
          <p:cNvGraphicFramePr>
            <a:graphicFrameLocks/>
          </p:cNvGraphicFramePr>
          <p:nvPr>
            <p:custDataLst>
              <p:tags r:id="rId4"/>
            </p:custDataLst>
            <p:extLst>
              <p:ext uri="{D42A27DB-BD31-4B8C-83A1-F6EECF244321}">
                <p14:modId xmlns:p14="http://schemas.microsoft.com/office/powerpoint/2010/main" val="3164860625"/>
              </p:ext>
            </p:extLst>
          </p:nvPr>
        </p:nvGraphicFramePr>
        <p:xfrm>
          <a:off x="838200" y="1295400"/>
          <a:ext cx="10591632" cy="4549264"/>
        </p:xfrm>
        <a:graphic>
          <a:graphicData uri="http://schemas.openxmlformats.org/presentationml/2006/ole">
            <mc:AlternateContent xmlns:mc="http://schemas.openxmlformats.org/markup-compatibility/2006">
              <mc:Choice xmlns:v="urn:schemas-microsoft-com:vml" Requires="v">
                <p:oleObj spid="_x0000_s125059" name="Chart" r:id="rId32" imgW="10591632" imgH="4549264" progId="MSGraph.Chart.8">
                  <p:embed followColorScheme="full"/>
                </p:oleObj>
              </mc:Choice>
              <mc:Fallback>
                <p:oleObj name="Chart" r:id="rId32" imgW="10591632" imgH="4549264" progId="MSGraph.Chart.8">
                  <p:embed followColorScheme="full"/>
                  <p:pic>
                    <p:nvPicPr>
                      <p:cNvPr id="46" name="Object 45"/>
                      <p:cNvPicPr/>
                      <p:nvPr/>
                    </p:nvPicPr>
                    <p:blipFill>
                      <a:blip r:embed="rId33"/>
                      <a:stretch>
                        <a:fillRect/>
                      </a:stretch>
                    </p:blipFill>
                    <p:spPr>
                      <a:xfrm>
                        <a:off x="838200" y="1295400"/>
                        <a:ext cx="10591632" cy="4549264"/>
                      </a:xfrm>
                      <a:prstGeom prst="rect">
                        <a:avLst/>
                      </a:prstGeom>
                    </p:spPr>
                  </p:pic>
                </p:oleObj>
              </mc:Fallback>
            </mc:AlternateContent>
          </a:graphicData>
        </a:graphic>
      </p:graphicFrame>
      <p:sp>
        <p:nvSpPr>
          <p:cNvPr id="47" name="Text Placeholder 2"/>
          <p:cNvSpPr>
            <a:spLocks noGrp="1"/>
          </p:cNvSpPr>
          <p:nvPr>
            <p:custDataLst>
              <p:tags r:id="rId5"/>
            </p:custDataLst>
          </p:nvPr>
        </p:nvSpPr>
        <p:spPr bwMode="gray">
          <a:xfrm>
            <a:off x="560388" y="1954213"/>
            <a:ext cx="319088"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84AADCCD-8750-442B-B3C8-C66DE8011AEB}" type="datetime'''''12''''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12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2" name="Text Placeholder 2"/>
          <p:cNvSpPr>
            <a:spLocks noGrp="1"/>
          </p:cNvSpPr>
          <p:nvPr>
            <p:custDataLst>
              <p:tags r:id="rId6"/>
            </p:custDataLst>
          </p:nvPr>
        </p:nvSpPr>
        <p:spPr bwMode="gray">
          <a:xfrm>
            <a:off x="560388" y="2563813"/>
            <a:ext cx="319088"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D25154E9-E3FE-4BEB-BE7F-81E55AECBC5B}" type="datetime'''''''''''''''''''''''''''1''0''''''''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10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4" name="Text Placeholder 2"/>
          <p:cNvSpPr>
            <a:spLocks noGrp="1"/>
          </p:cNvSpPr>
          <p:nvPr>
            <p:custDataLst>
              <p:tags r:id="rId7"/>
            </p:custDataLst>
          </p:nvPr>
        </p:nvSpPr>
        <p:spPr bwMode="gray">
          <a:xfrm>
            <a:off x="666750" y="3797301"/>
            <a:ext cx="212725"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2FF778F1-F85D-4DD5-8E91-950BAB6C9548}" type="datetime'''''''''''''''6''''''''''''''''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6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3" name="Text Placeholder 2">
            <a:extLst>
              <a:ext uri="{FF2B5EF4-FFF2-40B4-BE49-F238E27FC236}">
                <a16:creationId xmlns:a16="http://schemas.microsoft.com/office/drawing/2014/main" id="{C00F9BAE-FDB9-421E-889F-28E6700DD369}"/>
              </a:ext>
            </a:extLst>
          </p:cNvPr>
          <p:cNvSpPr>
            <a:spLocks noGrp="1"/>
          </p:cNvSpPr>
          <p:nvPr>
            <p:custDataLst>
              <p:tags r:id="rId8"/>
            </p:custDataLst>
          </p:nvPr>
        </p:nvSpPr>
        <p:spPr bwMode="gray">
          <a:xfrm>
            <a:off x="666750" y="5337175"/>
            <a:ext cx="212725"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3D070228-85ED-41F4-A21A-6D4335A1A6FF}" type="datetime'''''''''''''''''''''''''''''''1''''0'''''''''''''''''''''''''">
              <a:rPr lang="es-CO" altLang="en-US" sz="1500">
                <a:sym typeface="+mn-lt"/>
              </a:rPr>
              <a:pPr algn="r">
                <a:lnSpc>
                  <a:spcPct val="90000"/>
                </a:lnSpc>
              </a:pPr>
              <a:t>10</a:t>
            </a:fld>
            <a:endParaRPr lang="es-CO" sz="1500" dirty="0">
              <a:sym typeface="+mn-lt"/>
            </a:endParaRPr>
          </a:p>
        </p:txBody>
      </p:sp>
      <p:sp>
        <p:nvSpPr>
          <p:cNvPr id="68" name="Text Placeholder 2">
            <a:extLst>
              <a:ext uri="{FF2B5EF4-FFF2-40B4-BE49-F238E27FC236}">
                <a16:creationId xmlns:a16="http://schemas.microsoft.com/office/drawing/2014/main" id="{0E3E32D1-3A73-45B2-A4BC-7F8A38DFC8E0}"/>
              </a:ext>
            </a:extLst>
          </p:cNvPr>
          <p:cNvSpPr>
            <a:spLocks noGrp="1"/>
          </p:cNvSpPr>
          <p:nvPr>
            <p:custDataLst>
              <p:tags r:id="rId9"/>
            </p:custDataLst>
          </p:nvPr>
        </p:nvSpPr>
        <p:spPr bwMode="gray">
          <a:xfrm>
            <a:off x="560388" y="1641475"/>
            <a:ext cx="319088"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5D1C2F19-2823-4E1F-B2EE-65A6AE6627DD}" type="datetime'''''''''''''''''''''''''''13''''''''''0'''''''''''''''''">
              <a:rPr lang="es-CO" altLang="en-US" sz="1500">
                <a:sym typeface="+mn-lt"/>
              </a:rPr>
              <a:pPr algn="r">
                <a:lnSpc>
                  <a:spcPct val="90000"/>
                </a:lnSpc>
              </a:pPr>
              <a:t>130</a:t>
            </a:fld>
            <a:endParaRPr lang="es-CO" sz="1500" dirty="0">
              <a:sym typeface="+mn-lt"/>
            </a:endParaRPr>
          </a:p>
        </p:txBody>
      </p:sp>
      <p:sp>
        <p:nvSpPr>
          <p:cNvPr id="67" name="Text Placeholder 2">
            <a:extLst>
              <a:ext uri="{FF2B5EF4-FFF2-40B4-BE49-F238E27FC236}">
                <a16:creationId xmlns:a16="http://schemas.microsoft.com/office/drawing/2014/main" id="{FA47D99D-4AAF-416E-AF86-BA1121CB541D}"/>
              </a:ext>
            </a:extLst>
          </p:cNvPr>
          <p:cNvSpPr>
            <a:spLocks noGrp="1"/>
          </p:cNvSpPr>
          <p:nvPr>
            <p:custDataLst>
              <p:tags r:id="rId10"/>
            </p:custDataLst>
          </p:nvPr>
        </p:nvSpPr>
        <p:spPr bwMode="gray">
          <a:xfrm>
            <a:off x="574675" y="2259013"/>
            <a:ext cx="304800"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7870404F-BC54-4C7C-BDCC-EFD8512CDA19}" type="datetime'''''''''''''''''''''''''''''''''''''1''''1''''''''0'''''''''''">
              <a:rPr lang="es-CO" altLang="en-US" sz="1500">
                <a:sym typeface="+mn-lt"/>
              </a:rPr>
              <a:pPr algn="r">
                <a:lnSpc>
                  <a:spcPct val="90000"/>
                </a:lnSpc>
              </a:pPr>
              <a:t>110</a:t>
            </a:fld>
            <a:endParaRPr lang="es-CO" sz="1500" dirty="0">
              <a:sym typeface="+mn-lt"/>
            </a:endParaRPr>
          </a:p>
        </p:txBody>
      </p:sp>
      <p:sp>
        <p:nvSpPr>
          <p:cNvPr id="50" name="Text Placeholder 2"/>
          <p:cNvSpPr>
            <a:spLocks noGrp="1"/>
          </p:cNvSpPr>
          <p:nvPr>
            <p:custDataLst>
              <p:tags r:id="rId11"/>
            </p:custDataLst>
          </p:nvPr>
        </p:nvSpPr>
        <p:spPr bwMode="gray">
          <a:xfrm>
            <a:off x="560388" y="1336675"/>
            <a:ext cx="319088"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E3D89E89-FDE8-4E0D-B8D2-9FE7B47B80CC}" type="datetime'''''''''''''''''''''''''1''4''''''''''''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14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6" name="Text Placeholder 2">
            <a:extLst>
              <a:ext uri="{FF2B5EF4-FFF2-40B4-BE49-F238E27FC236}">
                <a16:creationId xmlns:a16="http://schemas.microsoft.com/office/drawing/2014/main" id="{0BAAA5FE-045E-48D9-92DD-3D9F6EF9AD1A}"/>
              </a:ext>
            </a:extLst>
          </p:cNvPr>
          <p:cNvSpPr>
            <a:spLocks noGrp="1"/>
          </p:cNvSpPr>
          <p:nvPr>
            <p:custDataLst>
              <p:tags r:id="rId12"/>
            </p:custDataLst>
          </p:nvPr>
        </p:nvSpPr>
        <p:spPr bwMode="gray">
          <a:xfrm>
            <a:off x="666750" y="2874963"/>
            <a:ext cx="212725"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7337D71C-5A3D-413E-92E4-A3580D17B688}" type="datetime'''''''''''''9''''''''''''''''''''0'''''''''''''''''''''">
              <a:rPr lang="es-CO" altLang="en-US" sz="1500">
                <a:sym typeface="+mn-lt"/>
              </a:rPr>
              <a:pPr algn="r">
                <a:lnSpc>
                  <a:spcPct val="90000"/>
                </a:lnSpc>
              </a:pPr>
              <a:t>90</a:t>
            </a:fld>
            <a:endParaRPr lang="es-CO" sz="1500" dirty="0">
              <a:sym typeface="+mn-lt"/>
            </a:endParaRPr>
          </a:p>
        </p:txBody>
      </p:sp>
      <p:sp>
        <p:nvSpPr>
          <p:cNvPr id="64" name="Text Placeholder 2">
            <a:extLst>
              <a:ext uri="{FF2B5EF4-FFF2-40B4-BE49-F238E27FC236}">
                <a16:creationId xmlns:a16="http://schemas.microsoft.com/office/drawing/2014/main" id="{9710A105-7FFF-4A6E-9892-2BDFAF6A2F06}"/>
              </a:ext>
            </a:extLst>
          </p:cNvPr>
          <p:cNvSpPr>
            <a:spLocks noGrp="1"/>
          </p:cNvSpPr>
          <p:nvPr>
            <p:custDataLst>
              <p:tags r:id="rId13"/>
            </p:custDataLst>
          </p:nvPr>
        </p:nvSpPr>
        <p:spPr bwMode="gray">
          <a:xfrm>
            <a:off x="666750" y="4102100"/>
            <a:ext cx="212725"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4C6FA614-FB46-4555-9D63-0348B295ADA0}" type="datetime'5''''''''''''''''''0'''''''''''''''''''''''''">
              <a:rPr lang="es-CO" altLang="en-US" sz="1500">
                <a:sym typeface="+mn-lt"/>
              </a:rPr>
              <a:pPr algn="r">
                <a:lnSpc>
                  <a:spcPct val="90000"/>
                </a:lnSpc>
              </a:pPr>
              <a:t>50</a:t>
            </a:fld>
            <a:endParaRPr lang="es-CO" sz="1500" dirty="0">
              <a:sym typeface="+mn-lt"/>
            </a:endParaRPr>
          </a:p>
        </p:txBody>
      </p:sp>
      <p:sp>
        <p:nvSpPr>
          <p:cNvPr id="56" name="Text Placeholder 2"/>
          <p:cNvSpPr>
            <a:spLocks noGrp="1"/>
          </p:cNvSpPr>
          <p:nvPr>
            <p:custDataLst>
              <p:tags r:id="rId14"/>
            </p:custDataLst>
          </p:nvPr>
        </p:nvSpPr>
        <p:spPr bwMode="gray">
          <a:xfrm>
            <a:off x="666750" y="4414839"/>
            <a:ext cx="212725"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1107814E-842D-41AD-B329-71FC08AECC5F}" type="datetime'''''''''''''''''''''''''4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4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4" name="Text Placeholder 2">
            <a:extLst>
              <a:ext uri="{FF2B5EF4-FFF2-40B4-BE49-F238E27FC236}">
                <a16:creationId xmlns:a16="http://schemas.microsoft.com/office/drawing/2014/main" id="{78A4AE73-8229-4124-837D-96EC846B577C}"/>
              </a:ext>
            </a:extLst>
          </p:cNvPr>
          <p:cNvSpPr>
            <a:spLocks noGrp="1"/>
          </p:cNvSpPr>
          <p:nvPr>
            <p:custDataLst>
              <p:tags r:id="rId15"/>
            </p:custDataLst>
          </p:nvPr>
        </p:nvSpPr>
        <p:spPr bwMode="gray">
          <a:xfrm>
            <a:off x="666750" y="4719638"/>
            <a:ext cx="212725"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C4E1F39D-2286-4E23-A415-A882949BC5CD}" type="datetime'''''''''''''''''''''3''0'''''''''''">
              <a:rPr lang="es-CO" altLang="en-US" sz="1500">
                <a:sym typeface="+mn-lt"/>
              </a:rPr>
              <a:pPr algn="r">
                <a:lnSpc>
                  <a:spcPct val="90000"/>
                </a:lnSpc>
              </a:pPr>
              <a:t>30</a:t>
            </a:fld>
            <a:endParaRPr lang="es-CO" sz="1500" dirty="0">
              <a:sym typeface="+mn-lt"/>
            </a:endParaRPr>
          </a:p>
        </p:txBody>
      </p:sp>
      <p:sp>
        <p:nvSpPr>
          <p:cNvPr id="55" name="Text Placeholder 2"/>
          <p:cNvSpPr>
            <a:spLocks noGrp="1"/>
          </p:cNvSpPr>
          <p:nvPr>
            <p:custDataLst>
              <p:tags r:id="rId16"/>
            </p:custDataLst>
          </p:nvPr>
        </p:nvSpPr>
        <p:spPr bwMode="gray">
          <a:xfrm>
            <a:off x="666750" y="5024438"/>
            <a:ext cx="212725"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EE240990-1CDF-457D-A2CB-0BC8370CED14}" type="datetime'''''''''''''''''''''''''2''''''''''''''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2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8" name="Text Placeholder 2"/>
          <p:cNvSpPr>
            <a:spLocks noGrp="1"/>
          </p:cNvSpPr>
          <p:nvPr>
            <p:custDataLst>
              <p:tags r:id="rId17"/>
            </p:custDataLst>
          </p:nvPr>
        </p:nvSpPr>
        <p:spPr bwMode="gray">
          <a:xfrm>
            <a:off x="773113" y="5641975"/>
            <a:ext cx="105961"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E96A83AD-6D3C-4356-8B5E-D1219E0F4329}" type="datetime'''''''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3" name="Text Placeholder 2"/>
          <p:cNvSpPr>
            <a:spLocks noGrp="1"/>
          </p:cNvSpPr>
          <p:nvPr>
            <p:custDataLst>
              <p:tags r:id="rId18"/>
            </p:custDataLst>
          </p:nvPr>
        </p:nvSpPr>
        <p:spPr bwMode="gray">
          <a:xfrm>
            <a:off x="666750" y="3179762"/>
            <a:ext cx="212725"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8930A7F3-876C-40A0-B8DA-0DE39EE4E8B2}" type="datetime'''8''''''''''''''0'''''''''''''''''''''''''''''">
              <a:rPr lang="es-CO" altLang="en-US" sz="1500">
                <a:solidFill>
                  <a:srgbClr val="000000"/>
                </a:solidFill>
                <a:latin typeface="Arial"/>
                <a:ea typeface="Arial Unicode MS" panose="020B0604020202020204" pitchFamily="34" charset="-128"/>
                <a:cs typeface="Arial Unicode MS" panose="020B0604020202020204" pitchFamily="34" charset="-128"/>
              </a:rPr>
              <a:pPr algn="r" defTabSz="671464">
                <a:lnSpc>
                  <a:spcPct val="90000"/>
                </a:lnSpc>
                <a:buClr>
                  <a:srgbClr val="002960"/>
                </a:buClr>
              </a:pPr>
              <a:t>8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49" name="Text Placeholder 2"/>
          <p:cNvSpPr>
            <a:spLocks noGrp="1"/>
          </p:cNvSpPr>
          <p:nvPr>
            <p:custDataLst>
              <p:tags r:id="rId19"/>
            </p:custDataLst>
          </p:nvPr>
        </p:nvSpPr>
        <p:spPr bwMode="gray">
          <a:xfrm>
            <a:off x="11117263" y="5856288"/>
            <a:ext cx="425450"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E7BCCB29-71A0-433B-94C6-4D32F6D08CD7}" type="datetime'2''0''''''''''''''''''''''1''''''''''''5'''''''''''''''''">
              <a:rPr lang="es-CO" altLang="en-US" sz="1500">
                <a:solidFill>
                  <a:srgbClr val="000000"/>
                </a:solidFill>
                <a:latin typeface="Arial"/>
                <a:ea typeface="Arial Unicode MS" panose="020B0604020202020204" pitchFamily="34" charset="-128"/>
                <a:cs typeface="Arial Unicode MS" panose="020B0604020202020204" pitchFamily="34" charset="-128"/>
              </a:rPr>
              <a:pPr algn="ctr" defTabSz="671464">
                <a:lnSpc>
                  <a:spcPct val="90000"/>
                </a:lnSpc>
                <a:buClr>
                  <a:srgbClr val="002960"/>
                </a:buClr>
              </a:pPr>
              <a:t>2015</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5" name="Text Placeholder 2">
            <a:extLst>
              <a:ext uri="{FF2B5EF4-FFF2-40B4-BE49-F238E27FC236}">
                <a16:creationId xmlns:a16="http://schemas.microsoft.com/office/drawing/2014/main" id="{4A3FE110-661A-43D7-852F-12258B5516CE}"/>
              </a:ext>
            </a:extLst>
          </p:cNvPr>
          <p:cNvSpPr>
            <a:spLocks noGrp="1"/>
          </p:cNvSpPr>
          <p:nvPr>
            <p:custDataLst>
              <p:tags r:id="rId20"/>
            </p:custDataLst>
          </p:nvPr>
        </p:nvSpPr>
        <p:spPr bwMode="gray">
          <a:xfrm>
            <a:off x="666750" y="3492500"/>
            <a:ext cx="212725" cy="2063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a:lnSpc>
                <a:spcPct val="90000"/>
              </a:lnSpc>
            </a:pPr>
            <a:fld id="{60252E62-D9A2-48F1-A61F-10643F71B926}" type="datetime'''''''''''''7''''''''''''''''''''''''''''''''''''''0'''''''''">
              <a:rPr lang="es-CO" altLang="en-US" sz="1500">
                <a:sym typeface="+mn-lt"/>
              </a:rPr>
              <a:pPr algn="r">
                <a:lnSpc>
                  <a:spcPct val="90000"/>
                </a:lnSpc>
              </a:pPr>
              <a:t>70</a:t>
            </a:fld>
            <a:endParaRPr lang="es-CO" sz="1500" dirty="0">
              <a:sym typeface="+mn-lt"/>
            </a:endParaRPr>
          </a:p>
        </p:txBody>
      </p:sp>
      <p:sp>
        <p:nvSpPr>
          <p:cNvPr id="57" name="Text Placeholder 2"/>
          <p:cNvSpPr>
            <a:spLocks noGrp="1"/>
          </p:cNvSpPr>
          <p:nvPr>
            <p:custDataLst>
              <p:tags r:id="rId21"/>
            </p:custDataLst>
          </p:nvPr>
        </p:nvSpPr>
        <p:spPr bwMode="gray">
          <a:xfrm>
            <a:off x="9045575" y="5856288"/>
            <a:ext cx="425450"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D8DC8B29-A6C0-4A24-BB23-6D7121B86E9D}" type="datetime'''''''''2''''''''0''''1''''''''0'''''''''''''''''''''''">
              <a:rPr lang="es-CO" altLang="en-US" sz="1500">
                <a:solidFill>
                  <a:srgbClr val="000000"/>
                </a:solidFill>
                <a:latin typeface="Arial"/>
                <a:ea typeface="Arial Unicode MS" panose="020B0604020202020204" pitchFamily="34" charset="-128"/>
                <a:cs typeface="Arial Unicode MS" panose="020B0604020202020204" pitchFamily="34" charset="-128"/>
              </a:rPr>
              <a:pPr algn="ctr" defTabSz="671464">
                <a:lnSpc>
                  <a:spcPct val="90000"/>
                </a:lnSpc>
                <a:buClr>
                  <a:srgbClr val="002960"/>
                </a:buClr>
              </a:pPr>
              <a:t>201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9" name="Text Placeholder 2"/>
          <p:cNvSpPr>
            <a:spLocks noGrp="1"/>
          </p:cNvSpPr>
          <p:nvPr>
            <p:custDataLst>
              <p:tags r:id="rId22"/>
            </p:custDataLst>
          </p:nvPr>
        </p:nvSpPr>
        <p:spPr bwMode="gray">
          <a:xfrm>
            <a:off x="6972300" y="5856288"/>
            <a:ext cx="425450"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222A7A14-6243-467B-8225-439D103ED8A3}" type="datetime'''''''''''''2''''0''0''''''5'''''''''''">
              <a:rPr lang="es-CO" altLang="en-US" sz="1500">
                <a:solidFill>
                  <a:srgbClr val="000000"/>
                </a:solidFill>
                <a:latin typeface="Arial"/>
                <a:ea typeface="Arial Unicode MS" panose="020B0604020202020204" pitchFamily="34" charset="-128"/>
                <a:cs typeface="Arial Unicode MS" panose="020B0604020202020204" pitchFamily="34" charset="-128"/>
              </a:rPr>
              <a:pPr algn="ctr" defTabSz="671464">
                <a:lnSpc>
                  <a:spcPct val="90000"/>
                </a:lnSpc>
                <a:buClr>
                  <a:srgbClr val="002960"/>
                </a:buClr>
              </a:pPr>
              <a:t>2005</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1" name="Text Placeholder 2"/>
          <p:cNvSpPr>
            <a:spLocks noGrp="1"/>
          </p:cNvSpPr>
          <p:nvPr>
            <p:custDataLst>
              <p:tags r:id="rId23"/>
            </p:custDataLst>
          </p:nvPr>
        </p:nvSpPr>
        <p:spPr bwMode="gray">
          <a:xfrm>
            <a:off x="2827338" y="5856288"/>
            <a:ext cx="425450"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9F5C82C3-66EB-49AD-8245-7440D85D2195}" type="datetime'''''''''''''''''''''''''''''''''''''''''''''''1''''9''''95'''">
              <a:rPr lang="es-CO" altLang="en-US" sz="1500">
                <a:solidFill>
                  <a:srgbClr val="000000"/>
                </a:solidFill>
                <a:latin typeface="Arial"/>
                <a:ea typeface="Arial Unicode MS" panose="020B0604020202020204" pitchFamily="34" charset="-128"/>
                <a:cs typeface="Arial Unicode MS" panose="020B0604020202020204" pitchFamily="34" charset="-128"/>
              </a:rPr>
              <a:pPr algn="ctr" defTabSz="671464">
                <a:lnSpc>
                  <a:spcPct val="90000"/>
                </a:lnSpc>
                <a:buClr>
                  <a:srgbClr val="002960"/>
                </a:buClr>
              </a:pPr>
              <a:t>1995</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58" name="Text Placeholder 2"/>
          <p:cNvSpPr>
            <a:spLocks noGrp="1"/>
          </p:cNvSpPr>
          <p:nvPr>
            <p:custDataLst>
              <p:tags r:id="rId24"/>
            </p:custDataLst>
          </p:nvPr>
        </p:nvSpPr>
        <p:spPr bwMode="gray">
          <a:xfrm>
            <a:off x="4899025" y="5856288"/>
            <a:ext cx="425450"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373E684D-0E31-4B9B-977F-9A5471419D1C}" type="datetime'''''''''''''''2''0''''''0''''''''''''''''''''''0'''">
              <a:rPr lang="es-CO" altLang="en-US" sz="1500">
                <a:solidFill>
                  <a:srgbClr val="000000"/>
                </a:solidFill>
                <a:latin typeface="Arial"/>
                <a:ea typeface="Arial Unicode MS" panose="020B0604020202020204" pitchFamily="34" charset="-128"/>
                <a:cs typeface="Arial Unicode MS" panose="020B0604020202020204" pitchFamily="34" charset="-128"/>
              </a:rPr>
              <a:pPr algn="ctr" defTabSz="671464">
                <a:lnSpc>
                  <a:spcPct val="90000"/>
                </a:lnSpc>
                <a:buClr>
                  <a:srgbClr val="002960"/>
                </a:buClr>
              </a:pPr>
              <a:t>200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60" name="Text Placeholder 2"/>
          <p:cNvSpPr>
            <a:spLocks noGrp="1"/>
          </p:cNvSpPr>
          <p:nvPr>
            <p:custDataLst>
              <p:tags r:id="rId25"/>
            </p:custDataLst>
          </p:nvPr>
        </p:nvSpPr>
        <p:spPr bwMode="gray">
          <a:xfrm>
            <a:off x="754063" y="5856288"/>
            <a:ext cx="425450" cy="205968"/>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C2B1759F-49B1-4829-9AE1-58EB795D1919}" type="datetime'''''1''''''''9''9''''''''''''''''''''''''''''''''''0'''''">
              <a:rPr lang="es-CO" altLang="en-US" sz="1500">
                <a:solidFill>
                  <a:srgbClr val="000000"/>
                </a:solidFill>
                <a:latin typeface="Arial"/>
                <a:ea typeface="Arial Unicode MS" panose="020B0604020202020204" pitchFamily="34" charset="-128"/>
                <a:cs typeface="Arial Unicode MS" panose="020B0604020202020204" pitchFamily="34" charset="-128"/>
              </a:rPr>
              <a:pPr algn="ctr" defTabSz="671464">
                <a:lnSpc>
                  <a:spcPct val="90000"/>
                </a:lnSpc>
                <a:buClr>
                  <a:srgbClr val="002960"/>
                </a:buClr>
              </a:pPr>
              <a:t>1990</a:t>
            </a:fld>
            <a:endParaRPr lang="es-CO" altLang="en-US" sz="1500"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bwMode="gray">
          <a:xfrm>
            <a:off x="739140" y="353603"/>
            <a:ext cx="10401755"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CO" dirty="0"/>
              <a:t>Resolviendo restricciones de oferta - ejemplo Londres</a:t>
            </a:r>
          </a:p>
        </p:txBody>
      </p:sp>
      <p:sp>
        <p:nvSpPr>
          <p:cNvPr id="5" name="5. Source"/>
          <p:cNvSpPr>
            <a:spLocks noChangeArrowheads="1"/>
          </p:cNvSpPr>
          <p:nvPr/>
        </p:nvSpPr>
        <p:spPr bwMode="gray">
          <a:xfrm>
            <a:off x="589449" y="6507558"/>
            <a:ext cx="7464424"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70257" indent="-370257" defTabSz="895329"/>
            <a:r>
              <a:rPr lang="es-CO" sz="800" dirty="0">
                <a:solidFill>
                  <a:schemeClr val="accent6"/>
                </a:solidFill>
                <a:latin typeface="Arial" panose="020B0604020202020204" pitchFamily="34" charset="0"/>
              </a:rPr>
              <a:t>FUENTE: Asociación de Sociedades Constructoras; Análisis del McKinsey Global </a:t>
            </a:r>
            <a:r>
              <a:rPr lang="es-CO" sz="800" dirty="0" err="1">
                <a:solidFill>
                  <a:schemeClr val="accent6"/>
                </a:solidFill>
                <a:latin typeface="Arial" panose="020B0604020202020204" pitchFamily="34" charset="0"/>
              </a:rPr>
              <a:t>Institute</a:t>
            </a:r>
            <a:endParaRPr lang="es-CO" sz="800" dirty="0">
              <a:solidFill>
                <a:schemeClr val="accent6"/>
              </a:solidFill>
              <a:latin typeface="Arial" panose="020B0604020202020204" pitchFamily="34" charset="0"/>
            </a:endParaRPr>
          </a:p>
        </p:txBody>
      </p:sp>
      <p:sp>
        <p:nvSpPr>
          <p:cNvPr id="8" name="4. Footnote"/>
          <p:cNvSpPr txBox="1">
            <a:spLocks noChangeArrowheads="1"/>
          </p:cNvSpPr>
          <p:nvPr/>
        </p:nvSpPr>
        <p:spPr bwMode="auto">
          <a:xfrm>
            <a:off x="589449" y="6336906"/>
            <a:ext cx="7464424" cy="928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78575" indent="-78575" defTabSz="671464"/>
            <a:r>
              <a:rPr lang="es-CO" sz="800" dirty="0">
                <a:solidFill>
                  <a:schemeClr val="accent6"/>
                </a:solidFill>
                <a:latin typeface="Arial" panose="020B0604020202020204" pitchFamily="34" charset="0"/>
              </a:rPr>
              <a:t>1 2014 = 100 para terminaciones</a:t>
            </a:r>
          </a:p>
        </p:txBody>
      </p:sp>
      <p:sp>
        <p:nvSpPr>
          <p:cNvPr id="12" name="3. Unit of measure"/>
          <p:cNvSpPr txBox="1">
            <a:spLocks noChangeArrowheads="1"/>
          </p:cNvSpPr>
          <p:nvPr/>
        </p:nvSpPr>
        <p:spPr bwMode="auto">
          <a:xfrm>
            <a:off x="739139" y="743804"/>
            <a:ext cx="1040158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s-CO" dirty="0"/>
              <a:t>Londres; Índice, 2015 = 100</a:t>
            </a:r>
            <a:r>
              <a:rPr lang="es-CO" baseline="30000" dirty="0"/>
              <a:t>1</a:t>
            </a:r>
            <a:r>
              <a:rPr lang="es-CO" dirty="0"/>
              <a:t> </a:t>
            </a:r>
          </a:p>
        </p:txBody>
      </p:sp>
      <p:sp>
        <p:nvSpPr>
          <p:cNvPr id="37" name="TextBox 36"/>
          <p:cNvSpPr txBox="1"/>
          <p:nvPr/>
        </p:nvSpPr>
        <p:spPr>
          <a:xfrm>
            <a:off x="8334283" y="4614860"/>
            <a:ext cx="1975576"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solidFill>
                  <a:schemeClr val="tx2"/>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solidFill>
                  <a:schemeClr val="tx2"/>
                </a:solidFill>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solidFill>
                  <a:schemeClr val="tx2"/>
                </a:solidFill>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solidFill>
                  <a:schemeClr val="tx2"/>
                </a:solidFill>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solidFill>
                  <a:schemeClr val="tx2"/>
                </a:solidFill>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buClr>
                <a:srgbClr val="002960"/>
              </a:buClr>
            </a:pPr>
            <a:r>
              <a:rPr lang="es-CO" sz="1800" b="1" dirty="0">
                <a:solidFill>
                  <a:srgbClr val="00ADEF"/>
                </a:solidFill>
                <a:latin typeface="Arial"/>
              </a:rPr>
              <a:t>Precios de la vivienda</a:t>
            </a:r>
          </a:p>
        </p:txBody>
      </p:sp>
      <p:grpSp>
        <p:nvGrpSpPr>
          <p:cNvPr id="38" name="Group 37"/>
          <p:cNvGrpSpPr/>
          <p:nvPr/>
        </p:nvGrpSpPr>
        <p:grpSpPr>
          <a:xfrm>
            <a:off x="6972299" y="4484704"/>
            <a:ext cx="1228053" cy="813697"/>
            <a:chOff x="4154321" y="4711005"/>
            <a:chExt cx="1063800" cy="704865"/>
          </a:xfrm>
        </p:grpSpPr>
        <p:grpSp>
          <p:nvGrpSpPr>
            <p:cNvPr id="39" name="Group 38"/>
            <p:cNvGrpSpPr/>
            <p:nvPr/>
          </p:nvGrpSpPr>
          <p:grpSpPr>
            <a:xfrm flipH="1">
              <a:off x="4154321" y="5049440"/>
              <a:ext cx="322174" cy="366430"/>
              <a:chOff x="4149559" y="5166122"/>
              <a:chExt cx="322174" cy="366430"/>
            </a:xfrm>
          </p:grpSpPr>
          <p:sp>
            <p:nvSpPr>
              <p:cNvPr id="41" name="Freeform 887"/>
              <p:cNvSpPr>
                <a:spLocks noEditPoints="1"/>
              </p:cNvSpPr>
              <p:nvPr/>
            </p:nvSpPr>
            <p:spPr bwMode="auto">
              <a:xfrm rot="16599787">
                <a:off x="4212973" y="5273792"/>
                <a:ext cx="258760" cy="258760"/>
              </a:xfrm>
              <a:custGeom>
                <a:avLst/>
                <a:gdLst>
                  <a:gd name="T0" fmla="*/ 54 w 412"/>
                  <a:gd name="T1" fmla="*/ 198 h 412"/>
                  <a:gd name="T2" fmla="*/ 24 w 412"/>
                  <a:gd name="T3" fmla="*/ 229 h 412"/>
                  <a:gd name="T4" fmla="*/ 17 w 412"/>
                  <a:gd name="T5" fmla="*/ 239 h 412"/>
                  <a:gd name="T6" fmla="*/ 16 w 412"/>
                  <a:gd name="T7" fmla="*/ 249 h 412"/>
                  <a:gd name="T8" fmla="*/ 20 w 412"/>
                  <a:gd name="T9" fmla="*/ 258 h 412"/>
                  <a:gd name="T10" fmla="*/ 156 w 412"/>
                  <a:gd name="T11" fmla="*/ 393 h 412"/>
                  <a:gd name="T12" fmla="*/ 160 w 412"/>
                  <a:gd name="T13" fmla="*/ 396 h 412"/>
                  <a:gd name="T14" fmla="*/ 164 w 412"/>
                  <a:gd name="T15" fmla="*/ 397 h 412"/>
                  <a:gd name="T16" fmla="*/ 166 w 412"/>
                  <a:gd name="T17" fmla="*/ 397 h 412"/>
                  <a:gd name="T18" fmla="*/ 173 w 412"/>
                  <a:gd name="T19" fmla="*/ 396 h 412"/>
                  <a:gd name="T20" fmla="*/ 178 w 412"/>
                  <a:gd name="T21" fmla="*/ 393 h 412"/>
                  <a:gd name="T22" fmla="*/ 183 w 412"/>
                  <a:gd name="T23" fmla="*/ 389 h 412"/>
                  <a:gd name="T24" fmla="*/ 215 w 412"/>
                  <a:gd name="T25" fmla="*/ 359 h 412"/>
                  <a:gd name="T26" fmla="*/ 54 w 412"/>
                  <a:gd name="T27" fmla="*/ 198 h 412"/>
                  <a:gd name="T28" fmla="*/ 326 w 412"/>
                  <a:gd name="T29" fmla="*/ 56 h 412"/>
                  <a:gd name="T30" fmla="*/ 313 w 412"/>
                  <a:gd name="T31" fmla="*/ 59 h 412"/>
                  <a:gd name="T32" fmla="*/ 304 w 412"/>
                  <a:gd name="T33" fmla="*/ 65 h 412"/>
                  <a:gd name="T34" fmla="*/ 296 w 412"/>
                  <a:gd name="T35" fmla="*/ 76 h 412"/>
                  <a:gd name="T36" fmla="*/ 295 w 412"/>
                  <a:gd name="T37" fmla="*/ 87 h 412"/>
                  <a:gd name="T38" fmla="*/ 296 w 412"/>
                  <a:gd name="T39" fmla="*/ 99 h 412"/>
                  <a:gd name="T40" fmla="*/ 304 w 412"/>
                  <a:gd name="T41" fmla="*/ 109 h 412"/>
                  <a:gd name="T42" fmla="*/ 313 w 412"/>
                  <a:gd name="T43" fmla="*/ 116 h 412"/>
                  <a:gd name="T44" fmla="*/ 326 w 412"/>
                  <a:gd name="T45" fmla="*/ 118 h 412"/>
                  <a:gd name="T46" fmla="*/ 337 w 412"/>
                  <a:gd name="T47" fmla="*/ 116 h 412"/>
                  <a:gd name="T48" fmla="*/ 347 w 412"/>
                  <a:gd name="T49" fmla="*/ 109 h 412"/>
                  <a:gd name="T50" fmla="*/ 354 w 412"/>
                  <a:gd name="T51" fmla="*/ 99 h 412"/>
                  <a:gd name="T52" fmla="*/ 356 w 412"/>
                  <a:gd name="T53" fmla="*/ 87 h 412"/>
                  <a:gd name="T54" fmla="*/ 354 w 412"/>
                  <a:gd name="T55" fmla="*/ 76 h 412"/>
                  <a:gd name="T56" fmla="*/ 347 w 412"/>
                  <a:gd name="T57" fmla="*/ 65 h 412"/>
                  <a:gd name="T58" fmla="*/ 337 w 412"/>
                  <a:gd name="T59" fmla="*/ 59 h 412"/>
                  <a:gd name="T60" fmla="*/ 326 w 412"/>
                  <a:gd name="T61" fmla="*/ 56 h 412"/>
                  <a:gd name="T62" fmla="*/ 355 w 412"/>
                  <a:gd name="T63" fmla="*/ 0 h 412"/>
                  <a:gd name="T64" fmla="*/ 372 w 412"/>
                  <a:gd name="T65" fmla="*/ 1 h 412"/>
                  <a:gd name="T66" fmla="*/ 387 w 412"/>
                  <a:gd name="T67" fmla="*/ 6 h 412"/>
                  <a:gd name="T68" fmla="*/ 400 w 412"/>
                  <a:gd name="T69" fmla="*/ 17 h 412"/>
                  <a:gd name="T70" fmla="*/ 408 w 412"/>
                  <a:gd name="T71" fmla="*/ 28 h 412"/>
                  <a:gd name="T72" fmla="*/ 412 w 412"/>
                  <a:gd name="T73" fmla="*/ 42 h 412"/>
                  <a:gd name="T74" fmla="*/ 412 w 412"/>
                  <a:gd name="T75" fmla="*/ 58 h 412"/>
                  <a:gd name="T76" fmla="*/ 400 w 412"/>
                  <a:gd name="T77" fmla="*/ 176 h 412"/>
                  <a:gd name="T78" fmla="*/ 397 w 412"/>
                  <a:gd name="T79" fmla="*/ 188 h 412"/>
                  <a:gd name="T80" fmla="*/ 391 w 412"/>
                  <a:gd name="T81" fmla="*/ 202 h 412"/>
                  <a:gd name="T82" fmla="*/ 383 w 412"/>
                  <a:gd name="T83" fmla="*/ 212 h 412"/>
                  <a:gd name="T84" fmla="*/ 194 w 412"/>
                  <a:gd name="T85" fmla="*/ 401 h 412"/>
                  <a:gd name="T86" fmla="*/ 182 w 412"/>
                  <a:gd name="T87" fmla="*/ 410 h 412"/>
                  <a:gd name="T88" fmla="*/ 166 w 412"/>
                  <a:gd name="T89" fmla="*/ 412 h 412"/>
                  <a:gd name="T90" fmla="*/ 155 w 412"/>
                  <a:gd name="T91" fmla="*/ 410 h 412"/>
                  <a:gd name="T92" fmla="*/ 144 w 412"/>
                  <a:gd name="T93" fmla="*/ 403 h 412"/>
                  <a:gd name="T94" fmla="*/ 9 w 412"/>
                  <a:gd name="T95" fmla="*/ 269 h 412"/>
                  <a:gd name="T96" fmla="*/ 2 w 412"/>
                  <a:gd name="T97" fmla="*/ 257 h 412"/>
                  <a:gd name="T98" fmla="*/ 0 w 412"/>
                  <a:gd name="T99" fmla="*/ 244 h 412"/>
                  <a:gd name="T100" fmla="*/ 4 w 412"/>
                  <a:gd name="T101" fmla="*/ 230 h 412"/>
                  <a:gd name="T102" fmla="*/ 13 w 412"/>
                  <a:gd name="T103" fmla="*/ 217 h 412"/>
                  <a:gd name="T104" fmla="*/ 201 w 412"/>
                  <a:gd name="T105" fmla="*/ 29 h 412"/>
                  <a:gd name="T106" fmla="*/ 212 w 412"/>
                  <a:gd name="T107" fmla="*/ 20 h 412"/>
                  <a:gd name="T108" fmla="*/ 227 w 412"/>
                  <a:gd name="T109" fmla="*/ 15 h 412"/>
                  <a:gd name="T110" fmla="*/ 241 w 412"/>
                  <a:gd name="T111" fmla="*/ 11 h 412"/>
                  <a:gd name="T112" fmla="*/ 355 w 412"/>
                  <a:gd name="T113"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2" h="412">
                    <a:moveTo>
                      <a:pt x="54" y="198"/>
                    </a:moveTo>
                    <a:lnTo>
                      <a:pt x="24" y="229"/>
                    </a:lnTo>
                    <a:lnTo>
                      <a:pt x="17" y="239"/>
                    </a:lnTo>
                    <a:lnTo>
                      <a:pt x="16" y="249"/>
                    </a:lnTo>
                    <a:lnTo>
                      <a:pt x="20" y="258"/>
                    </a:lnTo>
                    <a:lnTo>
                      <a:pt x="156" y="393"/>
                    </a:lnTo>
                    <a:lnTo>
                      <a:pt x="160" y="396"/>
                    </a:lnTo>
                    <a:lnTo>
                      <a:pt x="164" y="397"/>
                    </a:lnTo>
                    <a:lnTo>
                      <a:pt x="166" y="397"/>
                    </a:lnTo>
                    <a:lnTo>
                      <a:pt x="173" y="396"/>
                    </a:lnTo>
                    <a:lnTo>
                      <a:pt x="178" y="393"/>
                    </a:lnTo>
                    <a:lnTo>
                      <a:pt x="183" y="389"/>
                    </a:lnTo>
                    <a:lnTo>
                      <a:pt x="215" y="359"/>
                    </a:lnTo>
                    <a:lnTo>
                      <a:pt x="54" y="198"/>
                    </a:lnTo>
                    <a:close/>
                    <a:moveTo>
                      <a:pt x="326" y="56"/>
                    </a:moveTo>
                    <a:lnTo>
                      <a:pt x="313" y="59"/>
                    </a:lnTo>
                    <a:lnTo>
                      <a:pt x="304" y="65"/>
                    </a:lnTo>
                    <a:lnTo>
                      <a:pt x="296" y="76"/>
                    </a:lnTo>
                    <a:lnTo>
                      <a:pt x="295" y="87"/>
                    </a:lnTo>
                    <a:lnTo>
                      <a:pt x="296" y="99"/>
                    </a:lnTo>
                    <a:lnTo>
                      <a:pt x="304" y="109"/>
                    </a:lnTo>
                    <a:lnTo>
                      <a:pt x="313" y="116"/>
                    </a:lnTo>
                    <a:lnTo>
                      <a:pt x="326" y="118"/>
                    </a:lnTo>
                    <a:lnTo>
                      <a:pt x="337" y="116"/>
                    </a:lnTo>
                    <a:lnTo>
                      <a:pt x="347" y="109"/>
                    </a:lnTo>
                    <a:lnTo>
                      <a:pt x="354" y="99"/>
                    </a:lnTo>
                    <a:lnTo>
                      <a:pt x="356" y="87"/>
                    </a:lnTo>
                    <a:lnTo>
                      <a:pt x="354" y="76"/>
                    </a:lnTo>
                    <a:lnTo>
                      <a:pt x="347" y="65"/>
                    </a:lnTo>
                    <a:lnTo>
                      <a:pt x="337" y="59"/>
                    </a:lnTo>
                    <a:lnTo>
                      <a:pt x="326" y="56"/>
                    </a:lnTo>
                    <a:close/>
                    <a:moveTo>
                      <a:pt x="355" y="0"/>
                    </a:moveTo>
                    <a:lnTo>
                      <a:pt x="372" y="1"/>
                    </a:lnTo>
                    <a:lnTo>
                      <a:pt x="387" y="6"/>
                    </a:lnTo>
                    <a:lnTo>
                      <a:pt x="400" y="17"/>
                    </a:lnTo>
                    <a:lnTo>
                      <a:pt x="408" y="28"/>
                    </a:lnTo>
                    <a:lnTo>
                      <a:pt x="412" y="42"/>
                    </a:lnTo>
                    <a:lnTo>
                      <a:pt x="412" y="58"/>
                    </a:lnTo>
                    <a:lnTo>
                      <a:pt x="400" y="176"/>
                    </a:lnTo>
                    <a:lnTo>
                      <a:pt x="397" y="188"/>
                    </a:lnTo>
                    <a:lnTo>
                      <a:pt x="391" y="202"/>
                    </a:lnTo>
                    <a:lnTo>
                      <a:pt x="383" y="212"/>
                    </a:lnTo>
                    <a:lnTo>
                      <a:pt x="194" y="401"/>
                    </a:lnTo>
                    <a:lnTo>
                      <a:pt x="182" y="410"/>
                    </a:lnTo>
                    <a:lnTo>
                      <a:pt x="166" y="412"/>
                    </a:lnTo>
                    <a:lnTo>
                      <a:pt x="155" y="410"/>
                    </a:lnTo>
                    <a:lnTo>
                      <a:pt x="144" y="403"/>
                    </a:lnTo>
                    <a:lnTo>
                      <a:pt x="9" y="269"/>
                    </a:lnTo>
                    <a:lnTo>
                      <a:pt x="2" y="257"/>
                    </a:lnTo>
                    <a:lnTo>
                      <a:pt x="0" y="244"/>
                    </a:lnTo>
                    <a:lnTo>
                      <a:pt x="4" y="230"/>
                    </a:lnTo>
                    <a:lnTo>
                      <a:pt x="13" y="217"/>
                    </a:lnTo>
                    <a:lnTo>
                      <a:pt x="201" y="29"/>
                    </a:lnTo>
                    <a:lnTo>
                      <a:pt x="212" y="20"/>
                    </a:lnTo>
                    <a:lnTo>
                      <a:pt x="227" y="15"/>
                    </a:lnTo>
                    <a:lnTo>
                      <a:pt x="241" y="11"/>
                    </a:lnTo>
                    <a:lnTo>
                      <a:pt x="355" y="0"/>
                    </a:lnTo>
                    <a:close/>
                  </a:path>
                </a:pathLst>
              </a:custGeom>
              <a:solidFill>
                <a:schemeClr val="accent2"/>
              </a:solidFill>
              <a:ln w="0">
                <a:noFill/>
                <a:prstDash val="solid"/>
                <a:round/>
                <a:headEnd/>
                <a:tailEnd/>
              </a:ln>
            </p:spPr>
            <p:txBody>
              <a:bodyPr vert="horz" wrap="square" lIns="68576" tIns="34288" rIns="68576" bIns="34288" numCol="1" anchor="t" anchorCtr="0" compatLnSpc="1">
                <a:prstTxWarp prst="textNoShape">
                  <a:avLst/>
                </a:prstTxWarp>
              </a:bodyPr>
              <a:lstStyle/>
              <a:p>
                <a:pPr defTabSz="685750"/>
                <a:endParaRPr lang="es-CO" sz="1200" dirty="0">
                  <a:solidFill>
                    <a:srgbClr val="000000"/>
                  </a:solidFill>
                </a:endParaRPr>
              </a:p>
            </p:txBody>
          </p:sp>
          <p:sp>
            <p:nvSpPr>
              <p:cNvPr id="42" name="Freeform 41"/>
              <p:cNvSpPr/>
              <p:nvPr/>
            </p:nvSpPr>
            <p:spPr>
              <a:xfrm>
                <a:off x="4149559" y="5166122"/>
                <a:ext cx="130969" cy="154782"/>
              </a:xfrm>
              <a:custGeom>
                <a:avLst/>
                <a:gdLst>
                  <a:gd name="connsiteX0" fmla="*/ 157162 w 157162"/>
                  <a:gd name="connsiteY0" fmla="*/ 169069 h 169069"/>
                  <a:gd name="connsiteX1" fmla="*/ 88106 w 157162"/>
                  <a:gd name="connsiteY1" fmla="*/ 88106 h 169069"/>
                  <a:gd name="connsiteX2" fmla="*/ 0 w 157162"/>
                  <a:gd name="connsiteY2" fmla="*/ 0 h 169069"/>
                </a:gdLst>
                <a:ahLst/>
                <a:cxnLst>
                  <a:cxn ang="0">
                    <a:pos x="connsiteX0" y="connsiteY0"/>
                  </a:cxn>
                  <a:cxn ang="0">
                    <a:pos x="connsiteX1" y="connsiteY1"/>
                  </a:cxn>
                  <a:cxn ang="0">
                    <a:pos x="connsiteX2" y="connsiteY2"/>
                  </a:cxn>
                </a:cxnLst>
                <a:rect l="l" t="t" r="r" b="b"/>
                <a:pathLst>
                  <a:path w="157162" h="169069">
                    <a:moveTo>
                      <a:pt x="157162" y="169069"/>
                    </a:moveTo>
                    <a:cubicBezTo>
                      <a:pt x="135731" y="142676"/>
                      <a:pt x="114300" y="116284"/>
                      <a:pt x="88106" y="88106"/>
                    </a:cubicBezTo>
                    <a:cubicBezTo>
                      <a:pt x="61912" y="59928"/>
                      <a:pt x="30956" y="29964"/>
                      <a:pt x="0" y="0"/>
                    </a:cubicBezTo>
                  </a:path>
                </a:pathLst>
              </a:cu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CO" sz="1200" dirty="0">
                  <a:solidFill>
                    <a:srgbClr val="FFFFFF"/>
                  </a:solidFill>
                  <a:latin typeface="Arial"/>
                </a:endParaRPr>
              </a:p>
            </p:txBody>
          </p:sp>
        </p:grpSp>
        <p:sp>
          <p:nvSpPr>
            <p:cNvPr id="40" name="Freeform 39"/>
            <p:cNvSpPr>
              <a:spLocks noChangeAspect="1"/>
            </p:cNvSpPr>
            <p:nvPr>
              <p:custDataLst>
                <p:tags r:id="rId27"/>
              </p:custDataLst>
            </p:nvPr>
          </p:nvSpPr>
          <p:spPr>
            <a:xfrm>
              <a:off x="4393519" y="4711005"/>
              <a:ext cx="824602" cy="625414"/>
            </a:xfrm>
            <a:custGeom>
              <a:avLst/>
              <a:gdLst>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2586039 w 2819400"/>
                <a:gd name="connsiteY4" fmla="*/ 1339201 h 2138362"/>
                <a:gd name="connsiteX5" fmla="*/ 2257426 w 2819400"/>
                <a:gd name="connsiteY5" fmla="*/ 1341287 h 2138362"/>
                <a:gd name="connsiteX6" fmla="*/ 2257426 w 2819400"/>
                <a:gd name="connsiteY6" fmla="*/ 1702091 h 2138362"/>
                <a:gd name="connsiteX7" fmla="*/ 2586039 w 2819400"/>
                <a:gd name="connsiteY7" fmla="*/ 1683431 h 2138362"/>
                <a:gd name="connsiteX8" fmla="*/ 785815 w 2819400"/>
                <a:gd name="connsiteY8" fmla="*/ 1319212 h 2138362"/>
                <a:gd name="connsiteX9" fmla="*/ 785815 w 2819400"/>
                <a:gd name="connsiteY9" fmla="*/ 1732664 h 2138362"/>
                <a:gd name="connsiteX10" fmla="*/ 1147764 w 2819400"/>
                <a:gd name="connsiteY10" fmla="*/ 1762125 h 2138362"/>
                <a:gd name="connsiteX11" fmla="*/ 1147764 w 2819400"/>
                <a:gd name="connsiteY11" fmla="*/ 1319212 h 2138362"/>
                <a:gd name="connsiteX12" fmla="*/ 328614 w 2819400"/>
                <a:gd name="connsiteY12" fmla="*/ 1319212 h 2138362"/>
                <a:gd name="connsiteX13" fmla="*/ 328614 w 2819400"/>
                <a:gd name="connsiteY13" fmla="*/ 1695450 h 2138362"/>
                <a:gd name="connsiteX14" fmla="*/ 633413 w 2819400"/>
                <a:gd name="connsiteY14" fmla="*/ 1720259 h 2138362"/>
                <a:gd name="connsiteX15" fmla="*/ 633413 w 2819400"/>
                <a:gd name="connsiteY15" fmla="*/ 1319212 h 2138362"/>
                <a:gd name="connsiteX16" fmla="*/ 2019302 w 2819400"/>
                <a:gd name="connsiteY16" fmla="*/ 238125 h 2138362"/>
                <a:gd name="connsiteX17" fmla="*/ 2647952 w 2819400"/>
                <a:gd name="connsiteY17" fmla="*/ 1181100 h 2138362"/>
                <a:gd name="connsiteX18" fmla="*/ 2647952 w 2819400"/>
                <a:gd name="connsiteY18" fmla="*/ 1966912 h 2138362"/>
                <a:gd name="connsiteX19" fmla="*/ 2171701 w 2819400"/>
                <a:gd name="connsiteY19" fmla="*/ 2028364 h 2138362"/>
                <a:gd name="connsiteX20" fmla="*/ 2171701 w 2819400"/>
                <a:gd name="connsiteY20" fmla="*/ 1341831 h 2138362"/>
                <a:gd name="connsiteX21" fmla="*/ 1871664 w 2819400"/>
                <a:gd name="connsiteY21" fmla="*/ 1343736 h 2138362"/>
                <a:gd name="connsiteX22" fmla="*/ 1871664 w 2819400"/>
                <a:gd name="connsiteY22" fmla="*/ 2067078 h 2138362"/>
                <a:gd name="connsiteX23" fmla="*/ 1319215 w 2819400"/>
                <a:gd name="connsiteY23" fmla="*/ 2138362 h 2138362"/>
                <a:gd name="connsiteX24" fmla="*/ 214315 w 2819400"/>
                <a:gd name="connsiteY24" fmla="*/ 2001431 h 2138362"/>
                <a:gd name="connsiteX25" fmla="*/ 214315 w 2819400"/>
                <a:gd name="connsiteY25" fmla="*/ 1062037 h 2138362"/>
                <a:gd name="connsiteX26" fmla="*/ 1347790 w 2819400"/>
                <a:gd name="connsiteY26" fmla="*/ 1062037 h 2138362"/>
                <a:gd name="connsiteX27" fmla="*/ 1204913 w 2819400"/>
                <a:gd name="connsiteY27" fmla="*/ 0 h 2138362"/>
                <a:gd name="connsiteX28" fmla="*/ 1204913 w 2819400"/>
                <a:gd name="connsiteY28" fmla="*/ 175344 h 2138362"/>
                <a:gd name="connsiteX29" fmla="*/ 2014538 w 2819400"/>
                <a:gd name="connsiteY29" fmla="*/ 4762 h 2138362"/>
                <a:gd name="connsiteX30" fmla="*/ 2819400 w 2819400"/>
                <a:gd name="connsiteY30" fmla="*/ 1147762 h 2138362"/>
                <a:gd name="connsiteX31" fmla="*/ 2719388 w 2819400"/>
                <a:gd name="connsiteY31" fmla="*/ 1147762 h 2138362"/>
                <a:gd name="connsiteX32" fmla="*/ 2005013 w 2819400"/>
                <a:gd name="connsiteY32" fmla="*/ 138112 h 2138362"/>
                <a:gd name="connsiteX33" fmla="*/ 1290638 w 2819400"/>
                <a:gd name="connsiteY33" fmla="*/ 981075 h 2138362"/>
                <a:gd name="connsiteX34" fmla="*/ 0 w 2819400"/>
                <a:gd name="connsiteY34" fmla="*/ 1019175 h 2138362"/>
                <a:gd name="connsiteX35" fmla="*/ 0 w 2819400"/>
                <a:gd name="connsiteY35" fmla="*/ 876300 h 2138362"/>
                <a:gd name="connsiteX36" fmla="*/ 500063 w 2819400"/>
                <a:gd name="connsiteY36" fmla="*/ 323850 h 2138362"/>
                <a:gd name="connsiteX37" fmla="*/ 947738 w 2819400"/>
                <a:gd name="connsiteY37" fmla="*/ 229529 h 2138362"/>
                <a:gd name="connsiteX38" fmla="*/ 947738 w 2819400"/>
                <a:gd name="connsiteY38" fmla="*/ 42862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19302 w 2819400"/>
                <a:gd name="connsiteY20" fmla="*/ 238125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19302 w 2819400"/>
                <a:gd name="connsiteY31" fmla="*/ 238125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0 w 2819400"/>
                <a:gd name="connsiteY40" fmla="*/ 876300 h 2138362"/>
                <a:gd name="connsiteX41" fmla="*/ 500063 w 2819400"/>
                <a:gd name="connsiteY41" fmla="*/ 323850 h 2138362"/>
                <a:gd name="connsiteX42" fmla="*/ 947738 w 2819400"/>
                <a:gd name="connsiteY42" fmla="*/ 229529 h 2138362"/>
                <a:gd name="connsiteX43" fmla="*/ 947738 w 2819400"/>
                <a:gd name="connsiteY43" fmla="*/ 42862 h 2138362"/>
                <a:gd name="connsiteX44" fmla="*/ 1204913 w 2819400"/>
                <a:gd name="connsiteY44" fmla="*/ 0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09777 w 2819400"/>
                <a:gd name="connsiteY20" fmla="*/ 233362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09777 w 2819400"/>
                <a:gd name="connsiteY31" fmla="*/ 233362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0 w 2819400"/>
                <a:gd name="connsiteY40" fmla="*/ 876300 h 2138362"/>
                <a:gd name="connsiteX41" fmla="*/ 500063 w 2819400"/>
                <a:gd name="connsiteY41" fmla="*/ 323850 h 2138362"/>
                <a:gd name="connsiteX42" fmla="*/ 947738 w 2819400"/>
                <a:gd name="connsiteY42" fmla="*/ 229529 h 2138362"/>
                <a:gd name="connsiteX43" fmla="*/ 947738 w 2819400"/>
                <a:gd name="connsiteY43" fmla="*/ 42862 h 2138362"/>
                <a:gd name="connsiteX44" fmla="*/ 1204913 w 2819400"/>
                <a:gd name="connsiteY44" fmla="*/ 0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09777 w 2819400"/>
                <a:gd name="connsiteY20" fmla="*/ 252412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09777 w 2819400"/>
                <a:gd name="connsiteY31" fmla="*/ 252412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0 w 2819400"/>
                <a:gd name="connsiteY40" fmla="*/ 876300 h 2138362"/>
                <a:gd name="connsiteX41" fmla="*/ 500063 w 2819400"/>
                <a:gd name="connsiteY41" fmla="*/ 323850 h 2138362"/>
                <a:gd name="connsiteX42" fmla="*/ 947738 w 2819400"/>
                <a:gd name="connsiteY42" fmla="*/ 229529 h 2138362"/>
                <a:gd name="connsiteX43" fmla="*/ 947738 w 2819400"/>
                <a:gd name="connsiteY43" fmla="*/ 42862 h 2138362"/>
                <a:gd name="connsiteX44" fmla="*/ 1204913 w 2819400"/>
                <a:gd name="connsiteY44" fmla="*/ 0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09777 w 2819400"/>
                <a:gd name="connsiteY20" fmla="*/ 252412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09777 w 2819400"/>
                <a:gd name="connsiteY31" fmla="*/ 252412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500063 w 2819400"/>
                <a:gd name="connsiteY40" fmla="*/ 323850 h 2138362"/>
                <a:gd name="connsiteX41" fmla="*/ 947738 w 2819400"/>
                <a:gd name="connsiteY41" fmla="*/ 229529 h 2138362"/>
                <a:gd name="connsiteX42" fmla="*/ 947738 w 2819400"/>
                <a:gd name="connsiteY42" fmla="*/ 42862 h 2138362"/>
                <a:gd name="connsiteX43" fmla="*/ 1204913 w 2819400"/>
                <a:gd name="connsiteY43" fmla="*/ 0 h 213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19400" h="2138362">
                  <a:moveTo>
                    <a:pt x="1743077" y="1344553"/>
                  </a:moveTo>
                  <a:lnTo>
                    <a:pt x="1352552" y="1347032"/>
                  </a:lnTo>
                  <a:lnTo>
                    <a:pt x="1352552" y="1753472"/>
                  </a:lnTo>
                  <a:lnTo>
                    <a:pt x="1743077" y="1731296"/>
                  </a:lnTo>
                  <a:lnTo>
                    <a:pt x="1743077" y="1344553"/>
                  </a:lnTo>
                  <a:close/>
                  <a:moveTo>
                    <a:pt x="2586039" y="1339201"/>
                  </a:moveTo>
                  <a:lnTo>
                    <a:pt x="2257426" y="1341287"/>
                  </a:lnTo>
                  <a:lnTo>
                    <a:pt x="2257426" y="1702091"/>
                  </a:lnTo>
                  <a:lnTo>
                    <a:pt x="2586039" y="1683431"/>
                  </a:lnTo>
                  <a:lnTo>
                    <a:pt x="2586039" y="1339201"/>
                  </a:lnTo>
                  <a:close/>
                  <a:moveTo>
                    <a:pt x="785815" y="1319212"/>
                  </a:moveTo>
                  <a:lnTo>
                    <a:pt x="785815" y="1732664"/>
                  </a:lnTo>
                  <a:lnTo>
                    <a:pt x="1147764" y="1762125"/>
                  </a:lnTo>
                  <a:lnTo>
                    <a:pt x="1147764" y="1319212"/>
                  </a:lnTo>
                  <a:lnTo>
                    <a:pt x="785815" y="1319212"/>
                  </a:lnTo>
                  <a:close/>
                  <a:moveTo>
                    <a:pt x="328614" y="1319212"/>
                  </a:moveTo>
                  <a:lnTo>
                    <a:pt x="328614" y="1695450"/>
                  </a:lnTo>
                  <a:lnTo>
                    <a:pt x="633413" y="1720259"/>
                  </a:lnTo>
                  <a:lnTo>
                    <a:pt x="633413" y="1319212"/>
                  </a:lnTo>
                  <a:lnTo>
                    <a:pt x="328614" y="1319212"/>
                  </a:lnTo>
                  <a:close/>
                  <a:moveTo>
                    <a:pt x="2009777" y="252412"/>
                  </a:moveTo>
                  <a:lnTo>
                    <a:pt x="2647952" y="1181100"/>
                  </a:lnTo>
                  <a:lnTo>
                    <a:pt x="2647952" y="1966912"/>
                  </a:lnTo>
                  <a:lnTo>
                    <a:pt x="2171701" y="2028364"/>
                  </a:lnTo>
                  <a:lnTo>
                    <a:pt x="2171701" y="1341831"/>
                  </a:lnTo>
                  <a:lnTo>
                    <a:pt x="1871664" y="1343736"/>
                  </a:lnTo>
                  <a:lnTo>
                    <a:pt x="1871664" y="2067078"/>
                  </a:lnTo>
                  <a:lnTo>
                    <a:pt x="1319215" y="2138362"/>
                  </a:lnTo>
                  <a:lnTo>
                    <a:pt x="214315" y="2001431"/>
                  </a:lnTo>
                  <a:lnTo>
                    <a:pt x="214315" y="1062037"/>
                  </a:lnTo>
                  <a:lnTo>
                    <a:pt x="1347790" y="1062037"/>
                  </a:lnTo>
                  <a:lnTo>
                    <a:pt x="2009777" y="252412"/>
                  </a:lnTo>
                  <a:close/>
                  <a:moveTo>
                    <a:pt x="1204913" y="0"/>
                  </a:moveTo>
                  <a:lnTo>
                    <a:pt x="1204913" y="175344"/>
                  </a:lnTo>
                  <a:lnTo>
                    <a:pt x="2014538" y="4762"/>
                  </a:lnTo>
                  <a:lnTo>
                    <a:pt x="2819400" y="1147762"/>
                  </a:lnTo>
                  <a:lnTo>
                    <a:pt x="2719388" y="1147762"/>
                  </a:lnTo>
                  <a:lnTo>
                    <a:pt x="2005013" y="138112"/>
                  </a:lnTo>
                  <a:lnTo>
                    <a:pt x="1314450" y="1000125"/>
                  </a:lnTo>
                  <a:lnTo>
                    <a:pt x="0" y="1019175"/>
                  </a:lnTo>
                  <a:lnTo>
                    <a:pt x="500063" y="323850"/>
                  </a:lnTo>
                  <a:lnTo>
                    <a:pt x="947738" y="229529"/>
                  </a:lnTo>
                  <a:lnTo>
                    <a:pt x="947738" y="42862"/>
                  </a:lnTo>
                  <a:lnTo>
                    <a:pt x="120491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CO" sz="750" dirty="0">
                <a:solidFill>
                  <a:srgbClr val="000000"/>
                </a:solidFill>
                <a:latin typeface="Arial"/>
              </a:endParaRPr>
            </a:p>
          </p:txBody>
        </p:sp>
      </p:grpSp>
      <p:sp>
        <p:nvSpPr>
          <p:cNvPr id="32" name="TextBox 31"/>
          <p:cNvSpPr txBox="1"/>
          <p:nvPr/>
        </p:nvSpPr>
        <p:spPr>
          <a:xfrm>
            <a:off x="2403328" y="3931506"/>
            <a:ext cx="2495618"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solidFill>
                  <a:schemeClr val="tx2"/>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solidFill>
                  <a:schemeClr val="tx2"/>
                </a:solidFill>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solidFill>
                  <a:schemeClr val="tx2"/>
                </a:solidFill>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solidFill>
                  <a:schemeClr val="tx2"/>
                </a:solidFill>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solidFill>
                  <a:schemeClr val="tx2"/>
                </a:solidFill>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buClr>
                <a:srgbClr val="002960"/>
              </a:buClr>
            </a:pPr>
            <a:r>
              <a:rPr lang="es-CO" sz="1800" b="1" dirty="0">
                <a:solidFill>
                  <a:srgbClr val="F27F00"/>
                </a:solidFill>
                <a:latin typeface="Arial"/>
              </a:rPr>
              <a:t>Viviendas terminadas </a:t>
            </a:r>
          </a:p>
        </p:txBody>
      </p:sp>
      <p:grpSp>
        <p:nvGrpSpPr>
          <p:cNvPr id="33" name="Group 32"/>
          <p:cNvGrpSpPr/>
          <p:nvPr/>
        </p:nvGrpSpPr>
        <p:grpSpPr>
          <a:xfrm>
            <a:off x="1493839" y="3931508"/>
            <a:ext cx="784541" cy="880114"/>
            <a:chOff x="846446" y="3964128"/>
            <a:chExt cx="793451" cy="890111"/>
          </a:xfrm>
          <a:solidFill>
            <a:schemeClr val="accent5"/>
          </a:solidFill>
        </p:grpSpPr>
        <p:sp>
          <p:nvSpPr>
            <p:cNvPr id="34" name="Freeform 33"/>
            <p:cNvSpPr>
              <a:spLocks noChangeAspect="1"/>
            </p:cNvSpPr>
            <p:nvPr>
              <p:custDataLst>
                <p:tags r:id="rId26"/>
              </p:custDataLst>
            </p:nvPr>
          </p:nvSpPr>
          <p:spPr>
            <a:xfrm>
              <a:off x="985525" y="3964128"/>
              <a:ext cx="632474" cy="479696"/>
            </a:xfrm>
            <a:custGeom>
              <a:avLst/>
              <a:gdLst>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2586039 w 2819400"/>
                <a:gd name="connsiteY4" fmla="*/ 1339201 h 2138362"/>
                <a:gd name="connsiteX5" fmla="*/ 2257426 w 2819400"/>
                <a:gd name="connsiteY5" fmla="*/ 1341287 h 2138362"/>
                <a:gd name="connsiteX6" fmla="*/ 2257426 w 2819400"/>
                <a:gd name="connsiteY6" fmla="*/ 1702091 h 2138362"/>
                <a:gd name="connsiteX7" fmla="*/ 2586039 w 2819400"/>
                <a:gd name="connsiteY7" fmla="*/ 1683431 h 2138362"/>
                <a:gd name="connsiteX8" fmla="*/ 785815 w 2819400"/>
                <a:gd name="connsiteY8" fmla="*/ 1319212 h 2138362"/>
                <a:gd name="connsiteX9" fmla="*/ 785815 w 2819400"/>
                <a:gd name="connsiteY9" fmla="*/ 1732664 h 2138362"/>
                <a:gd name="connsiteX10" fmla="*/ 1147764 w 2819400"/>
                <a:gd name="connsiteY10" fmla="*/ 1762125 h 2138362"/>
                <a:gd name="connsiteX11" fmla="*/ 1147764 w 2819400"/>
                <a:gd name="connsiteY11" fmla="*/ 1319212 h 2138362"/>
                <a:gd name="connsiteX12" fmla="*/ 328614 w 2819400"/>
                <a:gd name="connsiteY12" fmla="*/ 1319212 h 2138362"/>
                <a:gd name="connsiteX13" fmla="*/ 328614 w 2819400"/>
                <a:gd name="connsiteY13" fmla="*/ 1695450 h 2138362"/>
                <a:gd name="connsiteX14" fmla="*/ 633413 w 2819400"/>
                <a:gd name="connsiteY14" fmla="*/ 1720259 h 2138362"/>
                <a:gd name="connsiteX15" fmla="*/ 633413 w 2819400"/>
                <a:gd name="connsiteY15" fmla="*/ 1319212 h 2138362"/>
                <a:gd name="connsiteX16" fmla="*/ 2019302 w 2819400"/>
                <a:gd name="connsiteY16" fmla="*/ 238125 h 2138362"/>
                <a:gd name="connsiteX17" fmla="*/ 2647952 w 2819400"/>
                <a:gd name="connsiteY17" fmla="*/ 1181100 h 2138362"/>
                <a:gd name="connsiteX18" fmla="*/ 2647952 w 2819400"/>
                <a:gd name="connsiteY18" fmla="*/ 1966912 h 2138362"/>
                <a:gd name="connsiteX19" fmla="*/ 2171701 w 2819400"/>
                <a:gd name="connsiteY19" fmla="*/ 2028364 h 2138362"/>
                <a:gd name="connsiteX20" fmla="*/ 2171701 w 2819400"/>
                <a:gd name="connsiteY20" fmla="*/ 1341831 h 2138362"/>
                <a:gd name="connsiteX21" fmla="*/ 1871664 w 2819400"/>
                <a:gd name="connsiteY21" fmla="*/ 1343736 h 2138362"/>
                <a:gd name="connsiteX22" fmla="*/ 1871664 w 2819400"/>
                <a:gd name="connsiteY22" fmla="*/ 2067078 h 2138362"/>
                <a:gd name="connsiteX23" fmla="*/ 1319215 w 2819400"/>
                <a:gd name="connsiteY23" fmla="*/ 2138362 h 2138362"/>
                <a:gd name="connsiteX24" fmla="*/ 214315 w 2819400"/>
                <a:gd name="connsiteY24" fmla="*/ 2001431 h 2138362"/>
                <a:gd name="connsiteX25" fmla="*/ 214315 w 2819400"/>
                <a:gd name="connsiteY25" fmla="*/ 1062037 h 2138362"/>
                <a:gd name="connsiteX26" fmla="*/ 1347790 w 2819400"/>
                <a:gd name="connsiteY26" fmla="*/ 1062037 h 2138362"/>
                <a:gd name="connsiteX27" fmla="*/ 1204913 w 2819400"/>
                <a:gd name="connsiteY27" fmla="*/ 0 h 2138362"/>
                <a:gd name="connsiteX28" fmla="*/ 1204913 w 2819400"/>
                <a:gd name="connsiteY28" fmla="*/ 175344 h 2138362"/>
                <a:gd name="connsiteX29" fmla="*/ 2014538 w 2819400"/>
                <a:gd name="connsiteY29" fmla="*/ 4762 h 2138362"/>
                <a:gd name="connsiteX30" fmla="*/ 2819400 w 2819400"/>
                <a:gd name="connsiteY30" fmla="*/ 1147762 h 2138362"/>
                <a:gd name="connsiteX31" fmla="*/ 2719388 w 2819400"/>
                <a:gd name="connsiteY31" fmla="*/ 1147762 h 2138362"/>
                <a:gd name="connsiteX32" fmla="*/ 2005013 w 2819400"/>
                <a:gd name="connsiteY32" fmla="*/ 138112 h 2138362"/>
                <a:gd name="connsiteX33" fmla="*/ 1290638 w 2819400"/>
                <a:gd name="connsiteY33" fmla="*/ 981075 h 2138362"/>
                <a:gd name="connsiteX34" fmla="*/ 0 w 2819400"/>
                <a:gd name="connsiteY34" fmla="*/ 1019175 h 2138362"/>
                <a:gd name="connsiteX35" fmla="*/ 0 w 2819400"/>
                <a:gd name="connsiteY35" fmla="*/ 876300 h 2138362"/>
                <a:gd name="connsiteX36" fmla="*/ 500063 w 2819400"/>
                <a:gd name="connsiteY36" fmla="*/ 323850 h 2138362"/>
                <a:gd name="connsiteX37" fmla="*/ 947738 w 2819400"/>
                <a:gd name="connsiteY37" fmla="*/ 229529 h 2138362"/>
                <a:gd name="connsiteX38" fmla="*/ 947738 w 2819400"/>
                <a:gd name="connsiteY38" fmla="*/ 42862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19302 w 2819400"/>
                <a:gd name="connsiteY20" fmla="*/ 238125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19302 w 2819400"/>
                <a:gd name="connsiteY31" fmla="*/ 238125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0 w 2819400"/>
                <a:gd name="connsiteY40" fmla="*/ 876300 h 2138362"/>
                <a:gd name="connsiteX41" fmla="*/ 500063 w 2819400"/>
                <a:gd name="connsiteY41" fmla="*/ 323850 h 2138362"/>
                <a:gd name="connsiteX42" fmla="*/ 947738 w 2819400"/>
                <a:gd name="connsiteY42" fmla="*/ 229529 h 2138362"/>
                <a:gd name="connsiteX43" fmla="*/ 947738 w 2819400"/>
                <a:gd name="connsiteY43" fmla="*/ 42862 h 2138362"/>
                <a:gd name="connsiteX44" fmla="*/ 1204913 w 2819400"/>
                <a:gd name="connsiteY44" fmla="*/ 0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09777 w 2819400"/>
                <a:gd name="connsiteY20" fmla="*/ 233362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09777 w 2819400"/>
                <a:gd name="connsiteY31" fmla="*/ 233362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0 w 2819400"/>
                <a:gd name="connsiteY40" fmla="*/ 876300 h 2138362"/>
                <a:gd name="connsiteX41" fmla="*/ 500063 w 2819400"/>
                <a:gd name="connsiteY41" fmla="*/ 323850 h 2138362"/>
                <a:gd name="connsiteX42" fmla="*/ 947738 w 2819400"/>
                <a:gd name="connsiteY42" fmla="*/ 229529 h 2138362"/>
                <a:gd name="connsiteX43" fmla="*/ 947738 w 2819400"/>
                <a:gd name="connsiteY43" fmla="*/ 42862 h 2138362"/>
                <a:gd name="connsiteX44" fmla="*/ 1204913 w 2819400"/>
                <a:gd name="connsiteY44" fmla="*/ 0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09777 w 2819400"/>
                <a:gd name="connsiteY20" fmla="*/ 252412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09777 w 2819400"/>
                <a:gd name="connsiteY31" fmla="*/ 252412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0 w 2819400"/>
                <a:gd name="connsiteY40" fmla="*/ 876300 h 2138362"/>
                <a:gd name="connsiteX41" fmla="*/ 500063 w 2819400"/>
                <a:gd name="connsiteY41" fmla="*/ 323850 h 2138362"/>
                <a:gd name="connsiteX42" fmla="*/ 947738 w 2819400"/>
                <a:gd name="connsiteY42" fmla="*/ 229529 h 2138362"/>
                <a:gd name="connsiteX43" fmla="*/ 947738 w 2819400"/>
                <a:gd name="connsiteY43" fmla="*/ 42862 h 2138362"/>
                <a:gd name="connsiteX44" fmla="*/ 1204913 w 2819400"/>
                <a:gd name="connsiteY44" fmla="*/ 0 h 2138362"/>
                <a:gd name="connsiteX0" fmla="*/ 1743077 w 2819400"/>
                <a:gd name="connsiteY0" fmla="*/ 1344553 h 2138362"/>
                <a:gd name="connsiteX1" fmla="*/ 1352552 w 2819400"/>
                <a:gd name="connsiteY1" fmla="*/ 1347032 h 2138362"/>
                <a:gd name="connsiteX2" fmla="*/ 1352552 w 2819400"/>
                <a:gd name="connsiteY2" fmla="*/ 1753472 h 2138362"/>
                <a:gd name="connsiteX3" fmla="*/ 1743077 w 2819400"/>
                <a:gd name="connsiteY3" fmla="*/ 1731296 h 2138362"/>
                <a:gd name="connsiteX4" fmla="*/ 1743077 w 2819400"/>
                <a:gd name="connsiteY4" fmla="*/ 1344553 h 2138362"/>
                <a:gd name="connsiteX5" fmla="*/ 2586039 w 2819400"/>
                <a:gd name="connsiteY5" fmla="*/ 1339201 h 2138362"/>
                <a:gd name="connsiteX6" fmla="*/ 2257426 w 2819400"/>
                <a:gd name="connsiteY6" fmla="*/ 1341287 h 2138362"/>
                <a:gd name="connsiteX7" fmla="*/ 2257426 w 2819400"/>
                <a:gd name="connsiteY7" fmla="*/ 1702091 h 2138362"/>
                <a:gd name="connsiteX8" fmla="*/ 2586039 w 2819400"/>
                <a:gd name="connsiteY8" fmla="*/ 1683431 h 2138362"/>
                <a:gd name="connsiteX9" fmla="*/ 2586039 w 2819400"/>
                <a:gd name="connsiteY9" fmla="*/ 1339201 h 2138362"/>
                <a:gd name="connsiteX10" fmla="*/ 785815 w 2819400"/>
                <a:gd name="connsiteY10" fmla="*/ 1319212 h 2138362"/>
                <a:gd name="connsiteX11" fmla="*/ 785815 w 2819400"/>
                <a:gd name="connsiteY11" fmla="*/ 1732664 h 2138362"/>
                <a:gd name="connsiteX12" fmla="*/ 1147764 w 2819400"/>
                <a:gd name="connsiteY12" fmla="*/ 1762125 h 2138362"/>
                <a:gd name="connsiteX13" fmla="*/ 1147764 w 2819400"/>
                <a:gd name="connsiteY13" fmla="*/ 1319212 h 2138362"/>
                <a:gd name="connsiteX14" fmla="*/ 785815 w 2819400"/>
                <a:gd name="connsiteY14" fmla="*/ 1319212 h 2138362"/>
                <a:gd name="connsiteX15" fmla="*/ 328614 w 2819400"/>
                <a:gd name="connsiteY15" fmla="*/ 1319212 h 2138362"/>
                <a:gd name="connsiteX16" fmla="*/ 328614 w 2819400"/>
                <a:gd name="connsiteY16" fmla="*/ 1695450 h 2138362"/>
                <a:gd name="connsiteX17" fmla="*/ 633413 w 2819400"/>
                <a:gd name="connsiteY17" fmla="*/ 1720259 h 2138362"/>
                <a:gd name="connsiteX18" fmla="*/ 633413 w 2819400"/>
                <a:gd name="connsiteY18" fmla="*/ 1319212 h 2138362"/>
                <a:gd name="connsiteX19" fmla="*/ 328614 w 2819400"/>
                <a:gd name="connsiteY19" fmla="*/ 1319212 h 2138362"/>
                <a:gd name="connsiteX20" fmla="*/ 2009777 w 2819400"/>
                <a:gd name="connsiteY20" fmla="*/ 252412 h 2138362"/>
                <a:gd name="connsiteX21" fmla="*/ 2647952 w 2819400"/>
                <a:gd name="connsiteY21" fmla="*/ 1181100 h 2138362"/>
                <a:gd name="connsiteX22" fmla="*/ 2647952 w 2819400"/>
                <a:gd name="connsiteY22" fmla="*/ 1966912 h 2138362"/>
                <a:gd name="connsiteX23" fmla="*/ 2171701 w 2819400"/>
                <a:gd name="connsiteY23" fmla="*/ 2028364 h 2138362"/>
                <a:gd name="connsiteX24" fmla="*/ 2171701 w 2819400"/>
                <a:gd name="connsiteY24" fmla="*/ 1341831 h 2138362"/>
                <a:gd name="connsiteX25" fmla="*/ 1871664 w 2819400"/>
                <a:gd name="connsiteY25" fmla="*/ 1343736 h 2138362"/>
                <a:gd name="connsiteX26" fmla="*/ 1871664 w 2819400"/>
                <a:gd name="connsiteY26" fmla="*/ 2067078 h 2138362"/>
                <a:gd name="connsiteX27" fmla="*/ 1319215 w 2819400"/>
                <a:gd name="connsiteY27" fmla="*/ 2138362 h 2138362"/>
                <a:gd name="connsiteX28" fmla="*/ 214315 w 2819400"/>
                <a:gd name="connsiteY28" fmla="*/ 2001431 h 2138362"/>
                <a:gd name="connsiteX29" fmla="*/ 214315 w 2819400"/>
                <a:gd name="connsiteY29" fmla="*/ 1062037 h 2138362"/>
                <a:gd name="connsiteX30" fmla="*/ 1347790 w 2819400"/>
                <a:gd name="connsiteY30" fmla="*/ 1062037 h 2138362"/>
                <a:gd name="connsiteX31" fmla="*/ 2009777 w 2819400"/>
                <a:gd name="connsiteY31" fmla="*/ 252412 h 2138362"/>
                <a:gd name="connsiteX32" fmla="*/ 1204913 w 2819400"/>
                <a:gd name="connsiteY32" fmla="*/ 0 h 2138362"/>
                <a:gd name="connsiteX33" fmla="*/ 1204913 w 2819400"/>
                <a:gd name="connsiteY33" fmla="*/ 175344 h 2138362"/>
                <a:gd name="connsiteX34" fmla="*/ 2014538 w 2819400"/>
                <a:gd name="connsiteY34" fmla="*/ 4762 h 2138362"/>
                <a:gd name="connsiteX35" fmla="*/ 2819400 w 2819400"/>
                <a:gd name="connsiteY35" fmla="*/ 1147762 h 2138362"/>
                <a:gd name="connsiteX36" fmla="*/ 2719388 w 2819400"/>
                <a:gd name="connsiteY36" fmla="*/ 1147762 h 2138362"/>
                <a:gd name="connsiteX37" fmla="*/ 2005013 w 2819400"/>
                <a:gd name="connsiteY37" fmla="*/ 138112 h 2138362"/>
                <a:gd name="connsiteX38" fmla="*/ 1314450 w 2819400"/>
                <a:gd name="connsiteY38" fmla="*/ 1000125 h 2138362"/>
                <a:gd name="connsiteX39" fmla="*/ 0 w 2819400"/>
                <a:gd name="connsiteY39" fmla="*/ 1019175 h 2138362"/>
                <a:gd name="connsiteX40" fmla="*/ 500063 w 2819400"/>
                <a:gd name="connsiteY40" fmla="*/ 323850 h 2138362"/>
                <a:gd name="connsiteX41" fmla="*/ 947738 w 2819400"/>
                <a:gd name="connsiteY41" fmla="*/ 229529 h 2138362"/>
                <a:gd name="connsiteX42" fmla="*/ 947738 w 2819400"/>
                <a:gd name="connsiteY42" fmla="*/ 42862 h 2138362"/>
                <a:gd name="connsiteX43" fmla="*/ 1204913 w 2819400"/>
                <a:gd name="connsiteY43" fmla="*/ 0 h 213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19400" h="2138362">
                  <a:moveTo>
                    <a:pt x="1743077" y="1344553"/>
                  </a:moveTo>
                  <a:lnTo>
                    <a:pt x="1352552" y="1347032"/>
                  </a:lnTo>
                  <a:lnTo>
                    <a:pt x="1352552" y="1753472"/>
                  </a:lnTo>
                  <a:lnTo>
                    <a:pt x="1743077" y="1731296"/>
                  </a:lnTo>
                  <a:lnTo>
                    <a:pt x="1743077" y="1344553"/>
                  </a:lnTo>
                  <a:close/>
                  <a:moveTo>
                    <a:pt x="2586039" y="1339201"/>
                  </a:moveTo>
                  <a:lnTo>
                    <a:pt x="2257426" y="1341287"/>
                  </a:lnTo>
                  <a:lnTo>
                    <a:pt x="2257426" y="1702091"/>
                  </a:lnTo>
                  <a:lnTo>
                    <a:pt x="2586039" y="1683431"/>
                  </a:lnTo>
                  <a:lnTo>
                    <a:pt x="2586039" y="1339201"/>
                  </a:lnTo>
                  <a:close/>
                  <a:moveTo>
                    <a:pt x="785815" y="1319212"/>
                  </a:moveTo>
                  <a:lnTo>
                    <a:pt x="785815" y="1732664"/>
                  </a:lnTo>
                  <a:lnTo>
                    <a:pt x="1147764" y="1762125"/>
                  </a:lnTo>
                  <a:lnTo>
                    <a:pt x="1147764" y="1319212"/>
                  </a:lnTo>
                  <a:lnTo>
                    <a:pt x="785815" y="1319212"/>
                  </a:lnTo>
                  <a:close/>
                  <a:moveTo>
                    <a:pt x="328614" y="1319212"/>
                  </a:moveTo>
                  <a:lnTo>
                    <a:pt x="328614" y="1695450"/>
                  </a:lnTo>
                  <a:lnTo>
                    <a:pt x="633413" y="1720259"/>
                  </a:lnTo>
                  <a:lnTo>
                    <a:pt x="633413" y="1319212"/>
                  </a:lnTo>
                  <a:lnTo>
                    <a:pt x="328614" y="1319212"/>
                  </a:lnTo>
                  <a:close/>
                  <a:moveTo>
                    <a:pt x="2009777" y="252412"/>
                  </a:moveTo>
                  <a:lnTo>
                    <a:pt x="2647952" y="1181100"/>
                  </a:lnTo>
                  <a:lnTo>
                    <a:pt x="2647952" y="1966912"/>
                  </a:lnTo>
                  <a:lnTo>
                    <a:pt x="2171701" y="2028364"/>
                  </a:lnTo>
                  <a:lnTo>
                    <a:pt x="2171701" y="1341831"/>
                  </a:lnTo>
                  <a:lnTo>
                    <a:pt x="1871664" y="1343736"/>
                  </a:lnTo>
                  <a:lnTo>
                    <a:pt x="1871664" y="2067078"/>
                  </a:lnTo>
                  <a:lnTo>
                    <a:pt x="1319215" y="2138362"/>
                  </a:lnTo>
                  <a:lnTo>
                    <a:pt x="214315" y="2001431"/>
                  </a:lnTo>
                  <a:lnTo>
                    <a:pt x="214315" y="1062037"/>
                  </a:lnTo>
                  <a:lnTo>
                    <a:pt x="1347790" y="1062037"/>
                  </a:lnTo>
                  <a:lnTo>
                    <a:pt x="2009777" y="252412"/>
                  </a:lnTo>
                  <a:close/>
                  <a:moveTo>
                    <a:pt x="1204913" y="0"/>
                  </a:moveTo>
                  <a:lnTo>
                    <a:pt x="1204913" y="175344"/>
                  </a:lnTo>
                  <a:lnTo>
                    <a:pt x="2014538" y="4762"/>
                  </a:lnTo>
                  <a:lnTo>
                    <a:pt x="2819400" y="1147762"/>
                  </a:lnTo>
                  <a:lnTo>
                    <a:pt x="2719388" y="1147762"/>
                  </a:lnTo>
                  <a:lnTo>
                    <a:pt x="2005013" y="138112"/>
                  </a:lnTo>
                  <a:lnTo>
                    <a:pt x="1314450" y="1000125"/>
                  </a:lnTo>
                  <a:lnTo>
                    <a:pt x="0" y="1019175"/>
                  </a:lnTo>
                  <a:lnTo>
                    <a:pt x="500063" y="323850"/>
                  </a:lnTo>
                  <a:lnTo>
                    <a:pt x="947738" y="229529"/>
                  </a:lnTo>
                  <a:lnTo>
                    <a:pt x="947738" y="42862"/>
                  </a:lnTo>
                  <a:lnTo>
                    <a:pt x="1204913"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CO" sz="750" dirty="0">
                <a:solidFill>
                  <a:srgbClr val="000000"/>
                </a:solidFill>
                <a:latin typeface="Arial"/>
              </a:endParaRPr>
            </a:p>
          </p:txBody>
        </p:sp>
        <p:sp>
          <p:nvSpPr>
            <p:cNvPr id="35" name="Freeform 72"/>
            <p:cNvSpPr>
              <a:spLocks/>
            </p:cNvSpPr>
            <p:nvPr/>
          </p:nvSpPr>
          <p:spPr bwMode="auto">
            <a:xfrm>
              <a:off x="846446" y="4432614"/>
              <a:ext cx="793451" cy="421625"/>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defTabSz="685750"/>
              <a:endParaRPr lang="es-CO" sz="1125" dirty="0">
                <a:solidFill>
                  <a:srgbClr val="000000"/>
                </a:solidFill>
              </a:endParaRPr>
            </a:p>
          </p:txBody>
        </p:sp>
      </p:grpSp>
    </p:spTree>
    <p:extLst>
      <p:ext uri="{BB962C8B-B14F-4D97-AF65-F5344CB8AC3E}">
        <p14:creationId xmlns:p14="http://schemas.microsoft.com/office/powerpoint/2010/main" val="2082444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101701731"/>
              </p:ext>
            </p:extLst>
          </p:nvPr>
        </p:nvGraphicFramePr>
        <p:xfrm>
          <a:off x="1495029" y="841488"/>
          <a:ext cx="1190" cy="1190"/>
        </p:xfrm>
        <a:graphic>
          <a:graphicData uri="http://schemas.openxmlformats.org/presentationml/2006/ole">
            <mc:AlternateContent xmlns:mc="http://schemas.openxmlformats.org/markup-compatibility/2006">
              <mc:Choice xmlns:v="urn:schemas-microsoft-com:vml" Requires="v">
                <p:oleObj spid="_x0000_s138354" name="think-cell Slide" r:id="rId102" imgW="353" imgH="353" progId="TCLayout.ActiveDocument.1">
                  <p:embed/>
                </p:oleObj>
              </mc:Choice>
              <mc:Fallback>
                <p:oleObj name="think-cell Slide" r:id="rId102" imgW="353" imgH="353" progId="TCLayout.ActiveDocument.1">
                  <p:embed/>
                  <p:pic>
                    <p:nvPicPr>
                      <p:cNvPr id="5" name="Object 4" hidden="1"/>
                      <p:cNvPicPr/>
                      <p:nvPr/>
                    </p:nvPicPr>
                    <p:blipFill>
                      <a:blip r:embed="rId103"/>
                      <a:stretch>
                        <a:fillRect/>
                      </a:stretch>
                    </p:blipFill>
                    <p:spPr>
                      <a:xfrm>
                        <a:off x="1495029" y="841488"/>
                        <a:ext cx="1190" cy="1190"/>
                      </a:xfrm>
                      <a:prstGeom prst="rect">
                        <a:avLst/>
                      </a:prstGeom>
                    </p:spPr>
                  </p:pic>
                </p:oleObj>
              </mc:Fallback>
            </mc:AlternateContent>
          </a:graphicData>
        </a:graphic>
      </p:graphicFrame>
      <p:sp>
        <p:nvSpPr>
          <p:cNvPr id="3" name="Rectangle 2" hidden="1"/>
          <p:cNvSpPr/>
          <p:nvPr>
            <p:custDataLst>
              <p:tags r:id="rId3"/>
            </p:custDataLst>
          </p:nvPr>
        </p:nvSpPr>
        <p:spPr bwMode="auto">
          <a:xfrm>
            <a:off x="1493839" y="840297"/>
            <a:ext cx="119056" cy="119056"/>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750">
              <a:lnSpc>
                <a:spcPct val="90000"/>
              </a:lnSpc>
            </a:pPr>
            <a:endParaRPr lang="es-CO" sz="1200" dirty="0" err="1">
              <a:solidFill>
                <a:srgbClr val="000000"/>
              </a:solidFill>
              <a:sym typeface="+mn-lt"/>
            </a:endParaRPr>
          </a:p>
        </p:txBody>
      </p:sp>
      <p:pic>
        <p:nvPicPr>
          <p:cNvPr id="115" name="Picture 114"/>
          <p:cNvPicPr>
            <a:picLocks/>
          </p:cNvPicPr>
          <p:nvPr/>
        </p:nvPicPr>
        <p:blipFill rotWithShape="1">
          <a:blip r:embed="rId104" cstate="print">
            <a:extLst>
              <a:ext uri="{BEBA8EAE-BF5A-486C-A8C5-ECC9F3942E4B}">
                <a14:imgProps xmlns:a14="http://schemas.microsoft.com/office/drawing/2010/main">
                  <a14:imgLayer r:embed="rId105">
                    <a14:imgEffect>
                      <a14:saturation sat="0"/>
                    </a14:imgEffect>
                  </a14:imgLayer>
                </a14:imgProps>
              </a:ext>
              <a:ext uri="{28A0092B-C50C-407E-A947-70E740481C1C}">
                <a14:useLocalDpi xmlns:a14="http://schemas.microsoft.com/office/drawing/2010/main" val="0"/>
              </a:ext>
            </a:extLst>
          </a:blip>
          <a:srcRect l="20063" r="20063"/>
          <a:stretch/>
        </p:blipFill>
        <p:spPr>
          <a:xfrm>
            <a:off x="8069262" y="1589929"/>
            <a:ext cx="3595866" cy="4055221"/>
          </a:xfrm>
          <a:custGeom>
            <a:avLst/>
            <a:gdLst>
              <a:gd name="connsiteX0" fmla="*/ 0 w 4794700"/>
              <a:gd name="connsiteY0" fmla="*/ 0 h 5337278"/>
              <a:gd name="connsiteX1" fmla="*/ 2222956 w 4794700"/>
              <a:gd name="connsiteY1" fmla="*/ 0 h 5337278"/>
              <a:gd name="connsiteX2" fmla="*/ 2227707 w 4794700"/>
              <a:gd name="connsiteY2" fmla="*/ 0 h 5337278"/>
              <a:gd name="connsiteX3" fmla="*/ 4794700 w 4794700"/>
              <a:gd name="connsiteY3" fmla="*/ 0 h 5337278"/>
              <a:gd name="connsiteX4" fmla="*/ 4794700 w 4794700"/>
              <a:gd name="connsiteY4" fmla="*/ 5337278 h 5337278"/>
              <a:gd name="connsiteX5" fmla="*/ 2227707 w 4794700"/>
              <a:gd name="connsiteY5" fmla="*/ 5337278 h 5337278"/>
              <a:gd name="connsiteX6" fmla="*/ 2222956 w 4794700"/>
              <a:gd name="connsiteY6" fmla="*/ 5337278 h 5337278"/>
              <a:gd name="connsiteX7" fmla="*/ 2222956 w 4794700"/>
              <a:gd name="connsiteY7" fmla="*/ 5327419 h 5337278"/>
              <a:gd name="connsiteX8" fmla="*/ 2144764 w 4794700"/>
              <a:gd name="connsiteY8" fmla="*/ 5165142 h 533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4700" h="5337278">
                <a:moveTo>
                  <a:pt x="0" y="0"/>
                </a:moveTo>
                <a:lnTo>
                  <a:pt x="2222956" y="0"/>
                </a:lnTo>
                <a:lnTo>
                  <a:pt x="2227707" y="0"/>
                </a:lnTo>
                <a:lnTo>
                  <a:pt x="4794700" y="0"/>
                </a:lnTo>
                <a:lnTo>
                  <a:pt x="4794700" y="5337278"/>
                </a:lnTo>
                <a:lnTo>
                  <a:pt x="2227707" y="5337278"/>
                </a:lnTo>
                <a:lnTo>
                  <a:pt x="2222956" y="5337278"/>
                </a:lnTo>
                <a:lnTo>
                  <a:pt x="2222956" y="5327419"/>
                </a:lnTo>
                <a:lnTo>
                  <a:pt x="2144764" y="5165142"/>
                </a:lnTo>
                <a:close/>
              </a:path>
            </a:pathLst>
          </a:custGeom>
          <a:gradFill>
            <a:gsLst>
              <a:gs pos="0">
                <a:schemeClr val="accent6">
                  <a:lumMod val="20000"/>
                  <a:lumOff val="80000"/>
                </a:schemeClr>
              </a:gs>
              <a:gs pos="100000">
                <a:schemeClr val="bg1"/>
              </a:gs>
            </a:gsLst>
            <a:lin ang="5400000" scaled="1"/>
          </a:gradFill>
          <a:ln w="9525">
            <a:noFill/>
          </a:ln>
        </p:spPr>
      </p:pic>
      <p:sp>
        <p:nvSpPr>
          <p:cNvPr id="2" name="Title 1"/>
          <p:cNvSpPr>
            <a:spLocks noGrp="1"/>
          </p:cNvSpPr>
          <p:nvPr>
            <p:ph type="title"/>
          </p:nvPr>
        </p:nvSpPr>
        <p:spPr>
          <a:xfrm>
            <a:off x="739140" y="353603"/>
            <a:ext cx="10401755"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CO" dirty="0"/>
              <a:t>La asequibilidad de la vivienda es una preocupación global</a:t>
            </a:r>
          </a:p>
        </p:txBody>
      </p:sp>
      <p:sp>
        <p:nvSpPr>
          <p:cNvPr id="4" name="3. Unit of measure"/>
          <p:cNvSpPr txBox="1">
            <a:spLocks noChangeArrowheads="1"/>
          </p:cNvSpPr>
          <p:nvPr/>
        </p:nvSpPr>
        <p:spPr bwMode="gray">
          <a:xfrm>
            <a:off x="739139" y="743804"/>
            <a:ext cx="1040158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s-CO" dirty="0"/>
              <a:t>Brecha de asequibilidad,% del PIB</a:t>
            </a:r>
          </a:p>
        </p:txBody>
      </p:sp>
      <p:sp>
        <p:nvSpPr>
          <p:cNvPr id="9" name="5. Source"/>
          <p:cNvSpPr>
            <a:spLocks noChangeArrowheads="1"/>
          </p:cNvSpPr>
          <p:nvPr/>
        </p:nvSpPr>
        <p:spPr bwMode="auto">
          <a:xfrm>
            <a:off x="589449" y="6492169"/>
            <a:ext cx="5146844"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457166" indent="-457166" defTabSz="671464">
              <a:tabLst>
                <a:tab pos="459547" algn="l"/>
              </a:tabLst>
            </a:pPr>
            <a:r>
              <a:rPr lang="es-CO" sz="800" dirty="0">
                <a:solidFill>
                  <a:schemeClr val="accent6"/>
                </a:solidFill>
                <a:latin typeface="Arial" panose="020B0604020202020204" pitchFamily="34" charset="0"/>
              </a:rPr>
              <a:t>FUENTE: Análisis del McKinsey Global </a:t>
            </a:r>
            <a:r>
              <a:rPr lang="es-CO" sz="800" dirty="0" err="1">
                <a:solidFill>
                  <a:schemeClr val="accent6"/>
                </a:solidFill>
                <a:latin typeface="Arial" panose="020B0604020202020204" pitchFamily="34" charset="0"/>
              </a:rPr>
              <a:t>Institute</a:t>
            </a:r>
            <a:endParaRPr lang="es-CO" sz="800" dirty="0">
              <a:solidFill>
                <a:schemeClr val="accent6"/>
              </a:solidFill>
              <a:latin typeface="Arial" panose="020B0604020202020204" pitchFamily="34" charset="0"/>
            </a:endParaRPr>
          </a:p>
        </p:txBody>
      </p:sp>
      <p:sp>
        <p:nvSpPr>
          <p:cNvPr id="101" name="Oval 100"/>
          <p:cNvSpPr/>
          <p:nvPr>
            <p:custDataLst>
              <p:tags r:id="rId4"/>
            </p:custDataLst>
          </p:nvPr>
        </p:nvSpPr>
        <p:spPr bwMode="auto">
          <a:xfrm>
            <a:off x="10272713" y="773113"/>
            <a:ext cx="123820" cy="123820"/>
          </a:xfrm>
          <a:prstGeom prst="ellipse">
            <a:avLst/>
          </a:prstGeom>
          <a:solidFill>
            <a:schemeClr val="accent4"/>
          </a:solidFill>
          <a:ln w="31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64152" tIns="32075" rIns="64152" bIns="32075" rtlCol="0" anchor="ctr"/>
          <a:lstStyle/>
          <a:p>
            <a:pPr algn="ctr" defTabSz="685750"/>
            <a:endParaRPr lang="es-CO" sz="1200" dirty="0">
              <a:solidFill>
                <a:srgbClr val="000000"/>
              </a:solidFill>
              <a:latin typeface="Arial"/>
            </a:endParaRPr>
          </a:p>
        </p:txBody>
      </p:sp>
      <p:sp>
        <p:nvSpPr>
          <p:cNvPr id="100" name="Oval 99"/>
          <p:cNvSpPr/>
          <p:nvPr>
            <p:custDataLst>
              <p:tags r:id="rId5"/>
            </p:custDataLst>
          </p:nvPr>
        </p:nvSpPr>
        <p:spPr bwMode="auto">
          <a:xfrm>
            <a:off x="11012488" y="773113"/>
            <a:ext cx="123820" cy="12382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CO" sz="1200" dirty="0">
              <a:solidFill>
                <a:srgbClr val="000000"/>
              </a:solidFill>
              <a:latin typeface="Arial"/>
            </a:endParaRPr>
          </a:p>
        </p:txBody>
      </p:sp>
      <p:sp>
        <p:nvSpPr>
          <p:cNvPr id="99" name="Oval 98"/>
          <p:cNvSpPr/>
          <p:nvPr>
            <p:custDataLst>
              <p:tags r:id="rId6"/>
            </p:custDataLst>
          </p:nvPr>
        </p:nvSpPr>
        <p:spPr bwMode="auto">
          <a:xfrm>
            <a:off x="9647238" y="773113"/>
            <a:ext cx="123820" cy="123820"/>
          </a:xfrm>
          <a:prstGeom prst="ellipse">
            <a:avLst/>
          </a:prstGeom>
          <a:solidFill>
            <a:schemeClr val="accent2"/>
          </a:solidFill>
          <a:ln w="31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64152" tIns="32075" rIns="64152" bIns="32075" rtlCol="0" anchor="ctr"/>
          <a:lstStyle/>
          <a:p>
            <a:pPr algn="ctr" defTabSz="685750"/>
            <a:endParaRPr lang="es-CO" sz="1200" dirty="0">
              <a:solidFill>
                <a:srgbClr val="000000"/>
              </a:solidFill>
              <a:latin typeface="Arial"/>
            </a:endParaRPr>
          </a:p>
        </p:txBody>
      </p:sp>
      <p:sp>
        <p:nvSpPr>
          <p:cNvPr id="103" name="Text Placeholder 3"/>
          <p:cNvSpPr>
            <a:spLocks noGrp="1"/>
          </p:cNvSpPr>
          <p:nvPr>
            <p:custDataLst>
              <p:tags r:id="rId7"/>
            </p:custDataLst>
          </p:nvPr>
        </p:nvSpPr>
        <p:spPr bwMode="auto">
          <a:xfrm>
            <a:off x="11237913" y="771525"/>
            <a:ext cx="228600" cy="1369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2"/>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2"/>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2"/>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r>
              <a:rPr lang="es-CO" altLang="en-US" sz="900" dirty="0">
                <a:solidFill>
                  <a:srgbClr val="000000"/>
                </a:solidFill>
                <a:ea typeface="+mn-ea"/>
                <a:cs typeface="+mn-cs"/>
                <a:sym typeface="+mn-lt"/>
              </a:rPr>
              <a:t>Bajo</a:t>
            </a:r>
          </a:p>
        </p:txBody>
      </p:sp>
      <p:sp>
        <p:nvSpPr>
          <p:cNvPr id="104" name="Text Placeholder 93"/>
          <p:cNvSpPr>
            <a:spLocks noGrp="1"/>
          </p:cNvSpPr>
          <p:nvPr>
            <p:custDataLst>
              <p:tags r:id="rId8"/>
            </p:custDataLst>
          </p:nvPr>
        </p:nvSpPr>
        <p:spPr bwMode="auto">
          <a:xfrm>
            <a:off x="10498138" y="771525"/>
            <a:ext cx="311150" cy="1369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r>
              <a:rPr lang="es-CO" altLang="en-US" sz="900" dirty="0">
                <a:solidFill>
                  <a:srgbClr val="000000"/>
                </a:solidFill>
                <a:sym typeface="+mn-lt"/>
              </a:rPr>
              <a:t>Medio</a:t>
            </a:r>
          </a:p>
        </p:txBody>
      </p:sp>
      <p:sp>
        <p:nvSpPr>
          <p:cNvPr id="102" name="Text Placeholder 91"/>
          <p:cNvSpPr>
            <a:spLocks noGrp="1"/>
          </p:cNvSpPr>
          <p:nvPr>
            <p:custDataLst>
              <p:tags r:id="rId9"/>
            </p:custDataLst>
          </p:nvPr>
        </p:nvSpPr>
        <p:spPr bwMode="auto">
          <a:xfrm>
            <a:off x="9872663" y="771525"/>
            <a:ext cx="196850" cy="1369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r>
              <a:rPr lang="es-CO" altLang="en-US" sz="900" dirty="0">
                <a:solidFill>
                  <a:srgbClr val="000000"/>
                </a:solidFill>
                <a:sym typeface="+mn-lt"/>
              </a:rPr>
              <a:t>Alto</a:t>
            </a:r>
          </a:p>
        </p:txBody>
      </p:sp>
      <p:sp>
        <p:nvSpPr>
          <p:cNvPr id="112" name="Rectangle 252"/>
          <p:cNvSpPr txBox="1"/>
          <p:nvPr/>
        </p:nvSpPr>
        <p:spPr>
          <a:xfrm>
            <a:off x="10223543" y="1107760"/>
            <a:ext cx="1384995" cy="1384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buClr>
                <a:srgbClr val="002960"/>
              </a:buClr>
            </a:pPr>
            <a:r>
              <a:rPr lang="es-CO" sz="900" dirty="0">
                <a:solidFill>
                  <a:srgbClr val="00ADEF"/>
                </a:solidFill>
                <a:latin typeface="Arial"/>
              </a:rPr>
              <a:t>Grupo de ingresos del país</a:t>
            </a:r>
          </a:p>
        </p:txBody>
      </p:sp>
      <p:sp>
        <p:nvSpPr>
          <p:cNvPr id="113" name="Oval 112"/>
          <p:cNvSpPr/>
          <p:nvPr/>
        </p:nvSpPr>
        <p:spPr>
          <a:xfrm>
            <a:off x="8476722" y="1149822"/>
            <a:ext cx="242988" cy="242988"/>
          </a:xfrm>
          <a:prstGeom prst="ellipse">
            <a:avLst/>
          </a:prstGeom>
          <a:solidFill>
            <a:srgbClr val="B2B2B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4152" tIns="32075" rIns="64152" bIns="32075" rtlCol="0" anchor="ctr"/>
          <a:lstStyle/>
          <a:p>
            <a:pPr algn="ctr" defTabSz="685750"/>
            <a:endParaRPr lang="es-CO" sz="676" dirty="0">
              <a:solidFill>
                <a:srgbClr val="000000"/>
              </a:solidFill>
              <a:latin typeface="Arial"/>
            </a:endParaRPr>
          </a:p>
        </p:txBody>
      </p:sp>
      <p:sp>
        <p:nvSpPr>
          <p:cNvPr id="114" name="Rectangle 252"/>
          <p:cNvSpPr txBox="1"/>
          <p:nvPr/>
        </p:nvSpPr>
        <p:spPr>
          <a:xfrm>
            <a:off x="8828580" y="1106927"/>
            <a:ext cx="1231106"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sz="1200" baseline="0">
                <a:latin typeface="+mn-lt"/>
              </a:defRPr>
            </a:lvl1pPr>
            <a:lvl2pPr marL="171450" lvl="1" indent="-169863" defTabSz="895350" eaLnBrk="1" hangingPunct="1">
              <a:buClr>
                <a:schemeClr val="tx2"/>
              </a:buClr>
              <a:buSzPct val="125000"/>
              <a:buFont typeface="Arial" charset="0"/>
              <a:buChar char="▪"/>
              <a:defRPr sz="1200" baseline="0">
                <a:latin typeface="+mn-lt"/>
              </a:defRPr>
            </a:lvl2pPr>
            <a:lvl3pPr marL="342900" lvl="2" indent="-171450" defTabSz="895350" eaLnBrk="1" hangingPunct="1">
              <a:buClr>
                <a:schemeClr val="tx2"/>
              </a:buClr>
              <a:buSzPct val="120000"/>
              <a:buFont typeface="Arial" charset="0"/>
              <a:buChar char="–"/>
              <a:defRPr sz="1200" baseline="0">
                <a:latin typeface="+mn-lt"/>
              </a:defRPr>
            </a:lvl3pPr>
            <a:lvl4pPr marL="514350" lvl="3" indent="-171450" defTabSz="895350" eaLnBrk="1" hangingPunct="1">
              <a:buClr>
                <a:schemeClr val="tx2"/>
              </a:buClr>
              <a:buSzPct val="120000"/>
              <a:buFont typeface="Arial" charset="0"/>
              <a:buChar char="▫"/>
              <a:defRPr sz="1200" baseline="0">
                <a:latin typeface="+mn-lt"/>
              </a:defRPr>
            </a:lvl4pPr>
            <a:lvl5pPr marL="628650" lvl="4" indent="-114300" defTabSz="895350" eaLnBrk="1" hangingPunct="1">
              <a:buClr>
                <a:schemeClr val="tx2"/>
              </a:buClr>
              <a:buSzPct val="89000"/>
              <a:buFont typeface="Arial" charset="0"/>
              <a:buChar char="-"/>
              <a:defRPr sz="12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64">
              <a:buClr>
                <a:srgbClr val="002960"/>
              </a:buClr>
            </a:pPr>
            <a:r>
              <a:rPr lang="es-CO" sz="900" dirty="0">
                <a:solidFill>
                  <a:srgbClr val="00ADEF"/>
                </a:solidFill>
                <a:latin typeface="Arial"/>
              </a:rPr>
              <a:t>Brecha de asequibilidad</a:t>
            </a:r>
          </a:p>
          <a:p>
            <a:pPr defTabSz="671464">
              <a:buClr>
                <a:srgbClr val="002960"/>
              </a:buClr>
            </a:pPr>
            <a:r>
              <a:rPr lang="es-CO" sz="900" dirty="0">
                <a:solidFill>
                  <a:srgbClr val="808080"/>
                </a:solidFill>
                <a:latin typeface="Arial"/>
              </a:rPr>
              <a:t>$ mil millones</a:t>
            </a:r>
          </a:p>
        </p:txBody>
      </p:sp>
      <p:sp>
        <p:nvSpPr>
          <p:cNvPr id="160" name="Freeform: Shape 159">
            <a:extLst>
              <a:ext uri="{FF2B5EF4-FFF2-40B4-BE49-F238E27FC236}">
                <a16:creationId xmlns:a16="http://schemas.microsoft.com/office/drawing/2014/main" id="{A6061BAD-48F3-48E3-B5B2-2482C0D318EA}"/>
              </a:ext>
            </a:extLst>
          </p:cNvPr>
          <p:cNvSpPr/>
          <p:nvPr/>
        </p:nvSpPr>
        <p:spPr>
          <a:xfrm>
            <a:off x="8069262" y="1589929"/>
            <a:ext cx="3595866" cy="4055221"/>
          </a:xfrm>
          <a:custGeom>
            <a:avLst/>
            <a:gdLst>
              <a:gd name="connsiteX0" fmla="*/ 0 w 3595866"/>
              <a:gd name="connsiteY0" fmla="*/ 0 h 4055221"/>
              <a:gd name="connsiteX1" fmla="*/ 1667143 w 3595866"/>
              <a:gd name="connsiteY1" fmla="*/ 0 h 4055221"/>
              <a:gd name="connsiteX2" fmla="*/ 1670707 w 3595866"/>
              <a:gd name="connsiteY2" fmla="*/ 0 h 4055221"/>
              <a:gd name="connsiteX3" fmla="*/ 3595866 w 3595866"/>
              <a:gd name="connsiteY3" fmla="*/ 0 h 4055221"/>
              <a:gd name="connsiteX4" fmla="*/ 3595866 w 3595866"/>
              <a:gd name="connsiteY4" fmla="*/ 4055221 h 4055221"/>
              <a:gd name="connsiteX5" fmla="*/ 1670707 w 3595866"/>
              <a:gd name="connsiteY5" fmla="*/ 4055221 h 4055221"/>
              <a:gd name="connsiteX6" fmla="*/ 1667143 w 3595866"/>
              <a:gd name="connsiteY6" fmla="*/ 4055221 h 4055221"/>
              <a:gd name="connsiteX7" fmla="*/ 1667143 w 3595866"/>
              <a:gd name="connsiteY7" fmla="*/ 4047730 h 4055221"/>
              <a:gd name="connsiteX8" fmla="*/ 1608502 w 3595866"/>
              <a:gd name="connsiteY8" fmla="*/ 3924433 h 4055221"/>
              <a:gd name="connsiteX9" fmla="*/ 0 w 3595866"/>
              <a:gd name="connsiteY9" fmla="*/ 0 h 405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95866" h="4055221">
                <a:moveTo>
                  <a:pt x="0" y="0"/>
                </a:moveTo>
                <a:lnTo>
                  <a:pt x="1667143" y="0"/>
                </a:lnTo>
                <a:lnTo>
                  <a:pt x="1670707" y="0"/>
                </a:lnTo>
                <a:lnTo>
                  <a:pt x="3595866" y="0"/>
                </a:lnTo>
                <a:lnTo>
                  <a:pt x="3595866" y="4055221"/>
                </a:lnTo>
                <a:lnTo>
                  <a:pt x="1670707" y="4055221"/>
                </a:lnTo>
                <a:lnTo>
                  <a:pt x="1667143" y="4055221"/>
                </a:lnTo>
                <a:lnTo>
                  <a:pt x="1667143" y="4047730"/>
                </a:lnTo>
                <a:lnTo>
                  <a:pt x="1608502" y="3924433"/>
                </a:lnTo>
                <a:lnTo>
                  <a:pt x="0" y="0"/>
                </a:lnTo>
                <a:close/>
              </a:path>
            </a:pathLst>
          </a:custGeom>
          <a:solidFill>
            <a:schemeClr val="bg1">
              <a:alpha val="6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err="1">
              <a:solidFill>
                <a:schemeClr val="tx1"/>
              </a:solidFill>
            </a:endParaRPr>
          </a:p>
        </p:txBody>
      </p:sp>
      <p:cxnSp>
        <p:nvCxnSpPr>
          <p:cNvPr id="196" name="Straight Connector 195"/>
          <p:cNvCxnSpPr/>
          <p:nvPr>
            <p:custDataLst>
              <p:tags r:id="rId10"/>
            </p:custDataLst>
          </p:nvPr>
        </p:nvCxnSpPr>
        <p:spPr bwMode="gray">
          <a:xfrm flipV="1">
            <a:off x="1074420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11"/>
            </p:custDataLst>
          </p:nvPr>
        </p:nvCxnSpPr>
        <p:spPr bwMode="gray">
          <a:xfrm flipV="1">
            <a:off x="3421063"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custDataLst>
              <p:tags r:id="rId12"/>
            </p:custDataLst>
          </p:nvPr>
        </p:nvCxnSpPr>
        <p:spPr bwMode="gray">
          <a:xfrm flipV="1">
            <a:off x="9021763"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custDataLst>
              <p:tags r:id="rId13"/>
            </p:custDataLst>
          </p:nvPr>
        </p:nvCxnSpPr>
        <p:spPr bwMode="gray">
          <a:xfrm flipV="1">
            <a:off x="8586788"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custDataLst>
              <p:tags r:id="rId14"/>
            </p:custDataLst>
          </p:nvPr>
        </p:nvCxnSpPr>
        <p:spPr bwMode="gray">
          <a:xfrm flipV="1">
            <a:off x="815975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custDataLst>
              <p:tags r:id="rId15"/>
            </p:custDataLst>
          </p:nvPr>
        </p:nvCxnSpPr>
        <p:spPr bwMode="gray">
          <a:xfrm flipV="1">
            <a:off x="7726363"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custDataLst>
              <p:tags r:id="rId16"/>
            </p:custDataLst>
          </p:nvPr>
        </p:nvCxnSpPr>
        <p:spPr bwMode="gray">
          <a:xfrm flipV="1">
            <a:off x="11604625"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custDataLst>
              <p:tags r:id="rId17"/>
            </p:custDataLst>
          </p:nvPr>
        </p:nvCxnSpPr>
        <p:spPr bwMode="gray">
          <a:xfrm flipV="1">
            <a:off x="9882188"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custDataLst>
              <p:tags r:id="rId18"/>
            </p:custDataLst>
          </p:nvPr>
        </p:nvCxnSpPr>
        <p:spPr bwMode="gray">
          <a:xfrm flipV="1">
            <a:off x="7299325"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custDataLst>
              <p:tags r:id="rId19"/>
            </p:custDataLst>
          </p:nvPr>
        </p:nvCxnSpPr>
        <p:spPr bwMode="gray">
          <a:xfrm flipV="1">
            <a:off x="686435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custDataLst>
              <p:tags r:id="rId20"/>
            </p:custDataLst>
          </p:nvPr>
        </p:nvCxnSpPr>
        <p:spPr bwMode="gray">
          <a:xfrm flipV="1">
            <a:off x="1116965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custDataLst>
              <p:tags r:id="rId21"/>
            </p:custDataLst>
          </p:nvPr>
        </p:nvCxnSpPr>
        <p:spPr bwMode="gray">
          <a:xfrm flipV="1">
            <a:off x="2994025"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custDataLst>
              <p:tags r:id="rId22"/>
            </p:custDataLst>
          </p:nvPr>
        </p:nvCxnSpPr>
        <p:spPr bwMode="gray">
          <a:xfrm flipV="1">
            <a:off x="944880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custDataLst>
              <p:tags r:id="rId23"/>
            </p:custDataLst>
          </p:nvPr>
        </p:nvCxnSpPr>
        <p:spPr bwMode="gray">
          <a:xfrm flipV="1">
            <a:off x="10309225"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custDataLst>
              <p:tags r:id="rId24"/>
            </p:custDataLst>
          </p:nvPr>
        </p:nvCxnSpPr>
        <p:spPr bwMode="gray">
          <a:xfrm flipV="1">
            <a:off x="643890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custDataLst>
              <p:tags r:id="rId25"/>
            </p:custDataLst>
          </p:nvPr>
        </p:nvCxnSpPr>
        <p:spPr bwMode="gray">
          <a:xfrm flipV="1">
            <a:off x="6003925"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26"/>
            </p:custDataLst>
          </p:nvPr>
        </p:nvCxnSpPr>
        <p:spPr bwMode="gray">
          <a:xfrm flipV="1">
            <a:off x="514350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27"/>
            </p:custDataLst>
          </p:nvPr>
        </p:nvCxnSpPr>
        <p:spPr bwMode="gray">
          <a:xfrm flipV="1">
            <a:off x="4716463"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custDataLst>
              <p:tags r:id="rId28"/>
            </p:custDataLst>
          </p:nvPr>
        </p:nvCxnSpPr>
        <p:spPr bwMode="gray">
          <a:xfrm flipV="1">
            <a:off x="5576888"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custDataLst>
              <p:tags r:id="rId29"/>
            </p:custDataLst>
          </p:nvPr>
        </p:nvCxnSpPr>
        <p:spPr bwMode="gray">
          <a:xfrm flipV="1">
            <a:off x="255905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custDataLst>
              <p:tags r:id="rId30"/>
            </p:custDataLst>
          </p:nvPr>
        </p:nvCxnSpPr>
        <p:spPr bwMode="gray">
          <a:xfrm flipV="1">
            <a:off x="1698625"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custDataLst>
              <p:tags r:id="rId31"/>
            </p:custDataLst>
          </p:nvPr>
        </p:nvCxnSpPr>
        <p:spPr bwMode="gray">
          <a:xfrm flipV="1">
            <a:off x="4281488"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custDataLst>
              <p:tags r:id="rId32"/>
            </p:custDataLst>
          </p:nvPr>
        </p:nvCxnSpPr>
        <p:spPr bwMode="gray">
          <a:xfrm flipV="1">
            <a:off x="213360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33"/>
            </p:custDataLst>
          </p:nvPr>
        </p:nvCxnSpPr>
        <p:spPr bwMode="gray">
          <a:xfrm flipV="1">
            <a:off x="385445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custDataLst>
              <p:tags r:id="rId34"/>
            </p:custDataLst>
          </p:nvPr>
        </p:nvCxnSpPr>
        <p:spPr bwMode="gray">
          <a:xfrm flipV="1">
            <a:off x="838200"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custDataLst>
              <p:tags r:id="rId35"/>
            </p:custDataLst>
          </p:nvPr>
        </p:nvCxnSpPr>
        <p:spPr bwMode="gray">
          <a:xfrm flipV="1">
            <a:off x="1271588" y="5594350"/>
            <a:ext cx="0" cy="50800"/>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6" name="Object 35"/>
          <p:cNvGraphicFramePr>
            <a:graphicFrameLocks/>
          </p:cNvGraphicFramePr>
          <p:nvPr>
            <p:custDataLst>
              <p:tags r:id="rId36"/>
            </p:custDataLst>
            <p:extLst>
              <p:ext uri="{D42A27DB-BD31-4B8C-83A1-F6EECF244321}">
                <p14:modId xmlns:p14="http://schemas.microsoft.com/office/powerpoint/2010/main" val="1539317148"/>
              </p:ext>
            </p:extLst>
          </p:nvPr>
        </p:nvGraphicFramePr>
        <p:xfrm>
          <a:off x="723900" y="1485899"/>
          <a:ext cx="10988069" cy="4251960"/>
        </p:xfrm>
        <a:graphic>
          <a:graphicData uri="http://schemas.openxmlformats.org/presentationml/2006/ole">
            <mc:AlternateContent xmlns:mc="http://schemas.openxmlformats.org/markup-compatibility/2006">
              <mc:Choice xmlns:v="urn:schemas-microsoft-com:vml" Requires="v">
                <p:oleObj spid="_x0000_s138355" name="Chart" r:id="rId106" imgW="10988069" imgH="4251960" progId="MSGraph.Chart.8">
                  <p:embed followColorScheme="full"/>
                </p:oleObj>
              </mc:Choice>
              <mc:Fallback>
                <p:oleObj name="Chart" r:id="rId106" imgW="10988069" imgH="4251960" progId="MSGraph.Chart.8">
                  <p:embed followColorScheme="full"/>
                  <p:pic>
                    <p:nvPicPr>
                      <p:cNvPr id="36" name="Object 35"/>
                      <p:cNvPicPr/>
                      <p:nvPr/>
                    </p:nvPicPr>
                    <p:blipFill>
                      <a:blip r:embed="rId107"/>
                      <a:stretch>
                        <a:fillRect/>
                      </a:stretch>
                    </p:blipFill>
                    <p:spPr>
                      <a:xfrm>
                        <a:off x="723900" y="1485899"/>
                        <a:ext cx="10988069" cy="4251960"/>
                      </a:xfrm>
                      <a:prstGeom prst="rect">
                        <a:avLst/>
                      </a:prstGeom>
                    </p:spPr>
                  </p:pic>
                </p:oleObj>
              </mc:Fallback>
            </mc:AlternateContent>
          </a:graphicData>
        </a:graphic>
      </p:graphicFrame>
      <p:sp>
        <p:nvSpPr>
          <p:cNvPr id="153" name="Text Placeholder 2"/>
          <p:cNvSpPr>
            <a:spLocks noGrp="1"/>
          </p:cNvSpPr>
          <p:nvPr>
            <p:custDataLst>
              <p:tags r:id="rId37"/>
            </p:custDataLst>
          </p:nvPr>
        </p:nvSpPr>
        <p:spPr bwMode="gray">
          <a:xfrm>
            <a:off x="684213" y="4549775"/>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3CC9A37B-1FDD-43AA-9D1A-78C12346592C}" type="datetime'''''''''''''''''''''''''''''''''''''''''''''''''''''''''''4'''">
              <a:rPr lang="es-CO" altLang="en-US" sz="1200">
                <a:solidFill>
                  <a:srgbClr val="000000"/>
                </a:solidFill>
                <a:sym typeface="+mn-lt"/>
              </a:rPr>
              <a:pPr algn="r" defTabSz="671464">
                <a:lnSpc>
                  <a:spcPct val="90000"/>
                </a:lnSpc>
                <a:buClr>
                  <a:srgbClr val="002960"/>
                </a:buClr>
              </a:pPr>
              <a:t>4</a:t>
            </a:fld>
            <a:endParaRPr lang="es-CO" altLang="en-US" sz="1200" dirty="0">
              <a:solidFill>
                <a:srgbClr val="000000"/>
              </a:solidFill>
              <a:sym typeface="+mn-lt"/>
            </a:endParaRPr>
          </a:p>
        </p:txBody>
      </p:sp>
      <p:sp>
        <p:nvSpPr>
          <p:cNvPr id="136" name="Text Placeholder 2"/>
          <p:cNvSpPr>
            <a:spLocks noGrp="1"/>
          </p:cNvSpPr>
          <p:nvPr>
            <p:custDataLst>
              <p:tags r:id="rId38"/>
            </p:custDataLst>
          </p:nvPr>
        </p:nvSpPr>
        <p:spPr bwMode="gray">
          <a:xfrm>
            <a:off x="5065713" y="5734050"/>
            <a:ext cx="157162"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6795AE10-F875-4E88-9E2F-874829D449D8}" type="datetime'''''''''''''''''''1''''''''''''''''''''''''''1'''''''''''''">
              <a:rPr lang="es-CO" altLang="en-US" sz="1200">
                <a:solidFill>
                  <a:srgbClr val="000000"/>
                </a:solidFill>
                <a:sym typeface="+mn-lt"/>
              </a:rPr>
              <a:pPr algn="ctr" defTabSz="671464">
                <a:lnSpc>
                  <a:spcPct val="90000"/>
                </a:lnSpc>
                <a:buClr>
                  <a:srgbClr val="002960"/>
                </a:buClr>
              </a:pPr>
              <a:t>11</a:t>
            </a:fld>
            <a:endParaRPr lang="es-CO" altLang="en-US" sz="1200" dirty="0">
              <a:solidFill>
                <a:srgbClr val="000000"/>
              </a:solidFill>
              <a:sym typeface="+mn-lt"/>
            </a:endParaRPr>
          </a:p>
        </p:txBody>
      </p:sp>
      <p:sp>
        <p:nvSpPr>
          <p:cNvPr id="154" name="Text Placeholder 2"/>
          <p:cNvSpPr>
            <a:spLocks noGrp="1"/>
          </p:cNvSpPr>
          <p:nvPr>
            <p:custDataLst>
              <p:tags r:id="rId39"/>
            </p:custDataLst>
          </p:nvPr>
        </p:nvSpPr>
        <p:spPr bwMode="gray">
          <a:xfrm>
            <a:off x="684213" y="4046538"/>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74A0E306-7321-44B6-9D0A-ECF7ADBC4B24}" type="datetime'''''''''''''''''''''6'''''">
              <a:rPr lang="es-CO" altLang="en-US" sz="1200">
                <a:solidFill>
                  <a:srgbClr val="000000"/>
                </a:solidFill>
                <a:sym typeface="+mn-lt"/>
              </a:rPr>
              <a:pPr algn="r" defTabSz="671464">
                <a:lnSpc>
                  <a:spcPct val="90000"/>
                </a:lnSpc>
                <a:buClr>
                  <a:srgbClr val="002960"/>
                </a:buClr>
              </a:pPr>
              <a:t>6</a:t>
            </a:fld>
            <a:endParaRPr lang="es-CO" altLang="en-US" sz="1200" dirty="0">
              <a:solidFill>
                <a:srgbClr val="000000"/>
              </a:solidFill>
              <a:sym typeface="+mn-lt"/>
            </a:endParaRPr>
          </a:p>
        </p:txBody>
      </p:sp>
      <p:sp>
        <p:nvSpPr>
          <p:cNvPr id="135" name="Text Placeholder 2"/>
          <p:cNvSpPr>
            <a:spLocks noGrp="1"/>
          </p:cNvSpPr>
          <p:nvPr>
            <p:custDataLst>
              <p:tags r:id="rId40"/>
            </p:custDataLst>
          </p:nvPr>
        </p:nvSpPr>
        <p:spPr bwMode="gray">
          <a:xfrm>
            <a:off x="4240213"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120E6463-1C0A-4E2F-B636-FD63C33D94C7}" type="datetime'9'''''''''''''''''''''''''''''''''''''''''''''''">
              <a:rPr lang="es-CO" altLang="en-US" sz="1200">
                <a:solidFill>
                  <a:srgbClr val="000000"/>
                </a:solidFill>
                <a:sym typeface="+mn-lt"/>
              </a:rPr>
              <a:pPr algn="ctr" defTabSz="671464">
                <a:lnSpc>
                  <a:spcPct val="90000"/>
                </a:lnSpc>
                <a:buClr>
                  <a:srgbClr val="002960"/>
                </a:buClr>
              </a:pPr>
              <a:t>9</a:t>
            </a:fld>
            <a:endParaRPr lang="es-CO" altLang="en-US" sz="1200" dirty="0">
              <a:solidFill>
                <a:srgbClr val="000000"/>
              </a:solidFill>
              <a:sym typeface="+mn-lt"/>
            </a:endParaRPr>
          </a:p>
        </p:txBody>
      </p:sp>
      <p:sp>
        <p:nvSpPr>
          <p:cNvPr id="145" name="Text Placeholder 2"/>
          <p:cNvSpPr>
            <a:spLocks noGrp="1"/>
          </p:cNvSpPr>
          <p:nvPr>
            <p:custDataLst>
              <p:tags r:id="rId41"/>
            </p:custDataLst>
          </p:nvPr>
        </p:nvSpPr>
        <p:spPr bwMode="gray">
          <a:xfrm>
            <a:off x="8937625"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0C0D7515-C5FD-4229-90FF-39D387E186D5}" type="datetime'''''''''''''''''''2''''''''''''''''0'''''''">
              <a:rPr lang="es-CO" altLang="en-US" sz="1200">
                <a:solidFill>
                  <a:srgbClr val="000000"/>
                </a:solidFill>
                <a:sym typeface="+mn-lt"/>
              </a:rPr>
              <a:pPr algn="ctr" defTabSz="671464">
                <a:lnSpc>
                  <a:spcPct val="90000"/>
                </a:lnSpc>
                <a:buClr>
                  <a:srgbClr val="002960"/>
                </a:buClr>
              </a:pPr>
              <a:t>20</a:t>
            </a:fld>
            <a:endParaRPr lang="es-CO" altLang="en-US" sz="1200" dirty="0">
              <a:solidFill>
                <a:srgbClr val="000000"/>
              </a:solidFill>
              <a:sym typeface="+mn-lt"/>
            </a:endParaRPr>
          </a:p>
        </p:txBody>
      </p:sp>
      <p:sp>
        <p:nvSpPr>
          <p:cNvPr id="144" name="Text Placeholder 2"/>
          <p:cNvSpPr>
            <a:spLocks noGrp="1"/>
          </p:cNvSpPr>
          <p:nvPr>
            <p:custDataLst>
              <p:tags r:id="rId42"/>
            </p:custDataLst>
          </p:nvPr>
        </p:nvSpPr>
        <p:spPr bwMode="gray">
          <a:xfrm>
            <a:off x="8502650"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CCA950E8-585D-4C9D-A797-ED0EAFB18FAC}" type="datetime'''''''''''''''1''9'''''''''''">
              <a:rPr lang="es-CO" altLang="en-US" sz="1200">
                <a:solidFill>
                  <a:srgbClr val="000000"/>
                </a:solidFill>
                <a:sym typeface="+mn-lt"/>
              </a:rPr>
              <a:pPr algn="ctr" defTabSz="671464">
                <a:lnSpc>
                  <a:spcPct val="90000"/>
                </a:lnSpc>
                <a:buClr>
                  <a:srgbClr val="002960"/>
                </a:buClr>
              </a:pPr>
              <a:t>19</a:t>
            </a:fld>
            <a:endParaRPr lang="es-CO" altLang="en-US" sz="1200" dirty="0">
              <a:solidFill>
                <a:srgbClr val="000000"/>
              </a:solidFill>
              <a:sym typeface="+mn-lt"/>
            </a:endParaRPr>
          </a:p>
        </p:txBody>
      </p:sp>
      <p:sp>
        <p:nvSpPr>
          <p:cNvPr id="152" name="Text Placeholder 2"/>
          <p:cNvSpPr>
            <a:spLocks noGrp="1"/>
          </p:cNvSpPr>
          <p:nvPr>
            <p:custDataLst>
              <p:tags r:id="rId43"/>
            </p:custDataLst>
          </p:nvPr>
        </p:nvSpPr>
        <p:spPr bwMode="gray">
          <a:xfrm>
            <a:off x="684213" y="50609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D85BC2CE-A2C9-43AE-84C4-DE8F48257D09}" type="datetime'''''''''''2'''''''''''''''''''''''''''''''''">
              <a:rPr lang="es-CO" altLang="en-US" sz="1200">
                <a:solidFill>
                  <a:srgbClr val="000000"/>
                </a:solidFill>
                <a:sym typeface="+mn-lt"/>
              </a:rPr>
              <a:pPr algn="r" defTabSz="671464">
                <a:lnSpc>
                  <a:spcPct val="90000"/>
                </a:lnSpc>
                <a:buClr>
                  <a:srgbClr val="002960"/>
                </a:buClr>
              </a:pPr>
              <a:t>2</a:t>
            </a:fld>
            <a:endParaRPr lang="es-CO" altLang="en-US" sz="1200" dirty="0">
              <a:solidFill>
                <a:srgbClr val="000000"/>
              </a:solidFill>
              <a:sym typeface="+mn-lt"/>
            </a:endParaRPr>
          </a:p>
        </p:txBody>
      </p:sp>
      <p:sp>
        <p:nvSpPr>
          <p:cNvPr id="151" name="Text Placeholder 2"/>
          <p:cNvSpPr>
            <a:spLocks noGrp="1"/>
          </p:cNvSpPr>
          <p:nvPr>
            <p:custDataLst>
              <p:tags r:id="rId44"/>
            </p:custDataLst>
          </p:nvPr>
        </p:nvSpPr>
        <p:spPr bwMode="gray">
          <a:xfrm>
            <a:off x="11520488"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F245B16A-E5C2-4E78-AA50-E2542BC6D8A2}" type="datetime'''''''''''3''''''''''''''''''''''''''8'''''''''''">
              <a:rPr lang="es-CO" altLang="en-US" sz="1200">
                <a:solidFill>
                  <a:srgbClr val="000000"/>
                </a:solidFill>
                <a:sym typeface="+mn-lt"/>
              </a:rPr>
              <a:pPr algn="ctr" defTabSz="671464">
                <a:lnSpc>
                  <a:spcPct val="90000"/>
                </a:lnSpc>
                <a:buClr>
                  <a:srgbClr val="002960"/>
                </a:buClr>
              </a:pPr>
              <a:t>38</a:t>
            </a:fld>
            <a:endParaRPr lang="es-CO" altLang="en-US" sz="1200" dirty="0">
              <a:solidFill>
                <a:srgbClr val="000000"/>
              </a:solidFill>
              <a:sym typeface="+mn-lt"/>
            </a:endParaRPr>
          </a:p>
        </p:txBody>
      </p:sp>
      <p:sp>
        <p:nvSpPr>
          <p:cNvPr id="148" name="Text Placeholder 2"/>
          <p:cNvSpPr>
            <a:spLocks noGrp="1"/>
          </p:cNvSpPr>
          <p:nvPr>
            <p:custDataLst>
              <p:tags r:id="rId45"/>
            </p:custDataLst>
          </p:nvPr>
        </p:nvSpPr>
        <p:spPr bwMode="gray">
          <a:xfrm>
            <a:off x="10225088"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227219E7-3486-4365-B5A4-1A9A7D674B3C}" type="datetime'''''''''''''''''''''''''''2''''''''''''''3'''">
              <a:rPr lang="es-CO" altLang="en-US" sz="1200">
                <a:solidFill>
                  <a:srgbClr val="000000"/>
                </a:solidFill>
                <a:sym typeface="+mn-lt"/>
              </a:rPr>
              <a:pPr algn="ctr" defTabSz="671464">
                <a:lnSpc>
                  <a:spcPct val="90000"/>
                </a:lnSpc>
                <a:buClr>
                  <a:srgbClr val="002960"/>
                </a:buClr>
              </a:pPr>
              <a:t>23</a:t>
            </a:fld>
            <a:endParaRPr lang="es-CO" altLang="en-US" sz="1200" dirty="0">
              <a:solidFill>
                <a:srgbClr val="000000"/>
              </a:solidFill>
              <a:sym typeface="+mn-lt"/>
            </a:endParaRPr>
          </a:p>
        </p:txBody>
      </p:sp>
      <p:sp>
        <p:nvSpPr>
          <p:cNvPr id="155" name="Text Placeholder 2"/>
          <p:cNvSpPr>
            <a:spLocks noGrp="1"/>
          </p:cNvSpPr>
          <p:nvPr>
            <p:custDataLst>
              <p:tags r:id="rId46"/>
            </p:custDataLst>
          </p:nvPr>
        </p:nvSpPr>
        <p:spPr bwMode="gray">
          <a:xfrm>
            <a:off x="684213" y="35369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67C7A99C-BC6B-4CBE-8915-43F0D3BD19F9}" type="datetime'''''''''''''''''''''''8'''''''''''">
              <a:rPr lang="es-CO" altLang="en-US" sz="1200">
                <a:solidFill>
                  <a:srgbClr val="000000"/>
                </a:solidFill>
                <a:sym typeface="+mn-lt"/>
              </a:rPr>
              <a:pPr algn="r" defTabSz="671464">
                <a:lnSpc>
                  <a:spcPct val="90000"/>
                </a:lnSpc>
                <a:buClr>
                  <a:srgbClr val="002960"/>
                </a:buClr>
              </a:pPr>
              <a:t>8</a:t>
            </a:fld>
            <a:endParaRPr lang="es-CO" altLang="en-US" sz="1200" dirty="0">
              <a:solidFill>
                <a:srgbClr val="000000"/>
              </a:solidFill>
              <a:sym typeface="+mn-lt"/>
            </a:endParaRPr>
          </a:p>
        </p:txBody>
      </p:sp>
      <p:sp>
        <p:nvSpPr>
          <p:cNvPr id="150" name="Text Placeholder 2"/>
          <p:cNvSpPr>
            <a:spLocks noGrp="1"/>
          </p:cNvSpPr>
          <p:nvPr>
            <p:custDataLst>
              <p:tags r:id="rId47"/>
            </p:custDataLst>
          </p:nvPr>
        </p:nvSpPr>
        <p:spPr bwMode="gray">
          <a:xfrm>
            <a:off x="11085513"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956ED09F-7801-4CB6-B124-0F54BA12644F}" type="datetime'''3''''''''''''''''''''''''''''''''''''''''7'''''''">
              <a:rPr lang="es-CO" altLang="en-US" sz="1200">
                <a:solidFill>
                  <a:srgbClr val="000000"/>
                </a:solidFill>
                <a:sym typeface="+mn-lt"/>
              </a:rPr>
              <a:pPr algn="ctr" defTabSz="671464">
                <a:lnSpc>
                  <a:spcPct val="90000"/>
                </a:lnSpc>
                <a:buClr>
                  <a:srgbClr val="002960"/>
                </a:buClr>
              </a:pPr>
              <a:t>37</a:t>
            </a:fld>
            <a:endParaRPr lang="es-CO" altLang="en-US" sz="1200" dirty="0">
              <a:solidFill>
                <a:srgbClr val="000000"/>
              </a:solidFill>
              <a:sym typeface="+mn-lt"/>
            </a:endParaRPr>
          </a:p>
        </p:txBody>
      </p:sp>
      <p:sp>
        <p:nvSpPr>
          <p:cNvPr id="60" name="Text Placeholder 2"/>
          <p:cNvSpPr>
            <a:spLocks noGrp="1"/>
          </p:cNvSpPr>
          <p:nvPr>
            <p:custDataLst>
              <p:tags r:id="rId48"/>
            </p:custDataLst>
          </p:nvPr>
        </p:nvSpPr>
        <p:spPr bwMode="gray">
          <a:xfrm>
            <a:off x="684213" y="556260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2922CA21-0A7E-4A6C-88EE-599088649873}" type="datetime'''''''''''''''''''''''''''''''''''''''''0'''''''''''''''''''">
              <a:rPr lang="es-CO" altLang="en-US" sz="1200">
                <a:solidFill>
                  <a:srgbClr val="000000"/>
                </a:solidFill>
                <a:sym typeface="+mn-lt"/>
              </a:rPr>
              <a:pPr algn="r" defTabSz="671464">
                <a:lnSpc>
                  <a:spcPct val="90000"/>
                </a:lnSpc>
                <a:buClr>
                  <a:srgbClr val="002960"/>
                </a:buClr>
              </a:pPr>
              <a:t>0</a:t>
            </a:fld>
            <a:endParaRPr lang="es-CO" altLang="en-US" sz="1200" dirty="0">
              <a:solidFill>
                <a:srgbClr val="000000"/>
              </a:solidFill>
              <a:sym typeface="+mn-lt"/>
            </a:endParaRPr>
          </a:p>
        </p:txBody>
      </p:sp>
      <p:sp>
        <p:nvSpPr>
          <p:cNvPr id="147" name="Text Placeholder 2"/>
          <p:cNvSpPr>
            <a:spLocks noGrp="1"/>
          </p:cNvSpPr>
          <p:nvPr>
            <p:custDataLst>
              <p:tags r:id="rId49"/>
            </p:custDataLst>
          </p:nvPr>
        </p:nvSpPr>
        <p:spPr bwMode="gray">
          <a:xfrm>
            <a:off x="9798050"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95B226C9-7816-4A3B-81B5-393DCC4EFD8B}" type="datetime'''''''''2''''''''''''''''''''''''''''''''2'''''''''''">
              <a:rPr lang="es-CO" altLang="en-US" sz="1200">
                <a:solidFill>
                  <a:srgbClr val="000000"/>
                </a:solidFill>
                <a:sym typeface="+mn-lt"/>
              </a:rPr>
              <a:pPr algn="ctr" defTabSz="671464">
                <a:lnSpc>
                  <a:spcPct val="90000"/>
                </a:lnSpc>
                <a:buClr>
                  <a:srgbClr val="002960"/>
                </a:buClr>
              </a:pPr>
              <a:t>22</a:t>
            </a:fld>
            <a:endParaRPr lang="es-CO" altLang="en-US" sz="1200" dirty="0">
              <a:solidFill>
                <a:srgbClr val="000000"/>
              </a:solidFill>
              <a:sym typeface="+mn-lt"/>
            </a:endParaRPr>
          </a:p>
        </p:txBody>
      </p:sp>
      <p:sp>
        <p:nvSpPr>
          <p:cNvPr id="146" name="Text Placeholder 2"/>
          <p:cNvSpPr>
            <a:spLocks noGrp="1"/>
          </p:cNvSpPr>
          <p:nvPr>
            <p:custDataLst>
              <p:tags r:id="rId50"/>
            </p:custDataLst>
          </p:nvPr>
        </p:nvSpPr>
        <p:spPr bwMode="gray">
          <a:xfrm>
            <a:off x="9364663"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45B4DFE8-9B4C-43EF-9CE2-F7FC668EEDEF}" type="datetime'''''''''''''''2''''''''''''''''''''''''''''''''''''''1'">
              <a:rPr lang="es-CO" altLang="en-US" sz="1200">
                <a:solidFill>
                  <a:srgbClr val="000000"/>
                </a:solidFill>
                <a:sym typeface="+mn-lt"/>
              </a:rPr>
              <a:pPr algn="ctr" defTabSz="671464">
                <a:lnSpc>
                  <a:spcPct val="90000"/>
                </a:lnSpc>
                <a:buClr>
                  <a:srgbClr val="002960"/>
                </a:buClr>
              </a:pPr>
              <a:t>21</a:t>
            </a:fld>
            <a:endParaRPr lang="es-CO" altLang="en-US" sz="1200" dirty="0">
              <a:solidFill>
                <a:srgbClr val="000000"/>
              </a:solidFill>
              <a:sym typeface="+mn-lt"/>
            </a:endParaRPr>
          </a:p>
        </p:txBody>
      </p:sp>
      <p:sp>
        <p:nvSpPr>
          <p:cNvPr id="156" name="Text Placeholder 2"/>
          <p:cNvSpPr>
            <a:spLocks noGrp="1"/>
          </p:cNvSpPr>
          <p:nvPr>
            <p:custDataLst>
              <p:tags r:id="rId51"/>
            </p:custDataLst>
          </p:nvPr>
        </p:nvSpPr>
        <p:spPr bwMode="gray">
          <a:xfrm>
            <a:off x="600075" y="2522538"/>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CAA2FF8F-A715-4595-9B19-25B8ACF91B48}" type="datetime'''1''''''2'''''''''''''''''''''''''''''''''">
              <a:rPr lang="es-CO" altLang="en-US" sz="1200">
                <a:solidFill>
                  <a:srgbClr val="000000"/>
                </a:solidFill>
                <a:sym typeface="+mn-lt"/>
              </a:rPr>
              <a:pPr algn="r" defTabSz="671464">
                <a:lnSpc>
                  <a:spcPct val="90000"/>
                </a:lnSpc>
                <a:buClr>
                  <a:srgbClr val="002960"/>
                </a:buClr>
              </a:pPr>
              <a:t>12</a:t>
            </a:fld>
            <a:endParaRPr lang="es-CO" altLang="en-US" sz="1200" dirty="0">
              <a:solidFill>
                <a:srgbClr val="000000"/>
              </a:solidFill>
              <a:sym typeface="+mn-lt"/>
            </a:endParaRPr>
          </a:p>
        </p:txBody>
      </p:sp>
      <p:sp>
        <p:nvSpPr>
          <p:cNvPr id="157" name="Text Placeholder 2"/>
          <p:cNvSpPr>
            <a:spLocks noGrp="1"/>
          </p:cNvSpPr>
          <p:nvPr>
            <p:custDataLst>
              <p:tags r:id="rId52"/>
            </p:custDataLst>
          </p:nvPr>
        </p:nvSpPr>
        <p:spPr bwMode="gray">
          <a:xfrm>
            <a:off x="600075" y="201930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56246ECB-6A44-4743-B7AE-15E3F22B371F}" type="datetime'''''''''1''''''''''''4'''''''''''''''''''''''">
              <a:rPr lang="es-CO" altLang="en-US" sz="1200">
                <a:solidFill>
                  <a:srgbClr val="000000"/>
                </a:solidFill>
                <a:sym typeface="+mn-lt"/>
              </a:rPr>
              <a:pPr algn="r" defTabSz="671464">
                <a:lnSpc>
                  <a:spcPct val="90000"/>
                </a:lnSpc>
                <a:buClr>
                  <a:srgbClr val="002960"/>
                </a:buClr>
              </a:pPr>
              <a:t>14</a:t>
            </a:fld>
            <a:endParaRPr lang="es-CO" altLang="en-US" sz="1200" dirty="0">
              <a:solidFill>
                <a:srgbClr val="000000"/>
              </a:solidFill>
              <a:sym typeface="+mn-lt"/>
            </a:endParaRPr>
          </a:p>
        </p:txBody>
      </p:sp>
      <p:sp>
        <p:nvSpPr>
          <p:cNvPr id="59" name="Text Placeholder 2"/>
          <p:cNvSpPr>
            <a:spLocks noGrp="1"/>
          </p:cNvSpPr>
          <p:nvPr>
            <p:custDataLst>
              <p:tags r:id="rId53"/>
            </p:custDataLst>
          </p:nvPr>
        </p:nvSpPr>
        <p:spPr bwMode="gray">
          <a:xfrm>
            <a:off x="600075" y="3033713"/>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fld id="{41495001-BAB1-45C1-8EBC-E65CBB9535D4}" type="datetime'''''''''''''1''''''''''''''''''0'">
              <a:rPr lang="es-CO" altLang="en-US" sz="1200">
                <a:solidFill>
                  <a:srgbClr val="000000"/>
                </a:solidFill>
                <a:sym typeface="+mn-lt"/>
              </a:rPr>
              <a:pPr algn="r" defTabSz="671464">
                <a:lnSpc>
                  <a:spcPct val="90000"/>
                </a:lnSpc>
                <a:buClr>
                  <a:srgbClr val="002960"/>
                </a:buClr>
              </a:pPr>
              <a:t>10</a:t>
            </a:fld>
            <a:endParaRPr lang="es-CO" altLang="en-US" sz="1200" dirty="0">
              <a:solidFill>
                <a:srgbClr val="000000"/>
              </a:solidFill>
              <a:sym typeface="+mn-lt"/>
            </a:endParaRPr>
          </a:p>
        </p:txBody>
      </p:sp>
      <p:sp>
        <p:nvSpPr>
          <p:cNvPr id="158" name="Text Placeholder 2"/>
          <p:cNvSpPr>
            <a:spLocks noGrp="1"/>
          </p:cNvSpPr>
          <p:nvPr>
            <p:custDataLst>
              <p:tags r:id="rId54"/>
            </p:custDataLst>
          </p:nvPr>
        </p:nvSpPr>
        <p:spPr bwMode="gray">
          <a:xfrm>
            <a:off x="600075" y="1509713"/>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r" defTabSz="671464">
              <a:lnSpc>
                <a:spcPct val="90000"/>
              </a:lnSpc>
              <a:buClr>
                <a:srgbClr val="002960"/>
              </a:buClr>
            </a:pPr>
            <a:fld id="{CC0CECF9-3EB7-4B55-A625-7A08F269274A}" type="datetime'''''''''''''''''''''''''''''''''''''''''1''6'''''''''''">
              <a:rPr lang="es-CO" altLang="en-US" sz="1200">
                <a:solidFill>
                  <a:srgbClr val="000000"/>
                </a:solidFill>
                <a:sym typeface="+mn-lt"/>
              </a:rPr>
              <a:pPr algn="r" defTabSz="671464">
                <a:lnSpc>
                  <a:spcPct val="90000"/>
                </a:lnSpc>
                <a:buClr>
                  <a:srgbClr val="002960"/>
                </a:buClr>
              </a:pPr>
              <a:t>16</a:t>
            </a:fld>
            <a:endParaRPr lang="es-CO" altLang="en-US" sz="1200" dirty="0">
              <a:solidFill>
                <a:srgbClr val="000000"/>
              </a:solidFill>
              <a:sym typeface="+mn-lt"/>
            </a:endParaRPr>
          </a:p>
        </p:txBody>
      </p:sp>
      <p:sp>
        <p:nvSpPr>
          <p:cNvPr id="149" name="Text Placeholder 2"/>
          <p:cNvSpPr>
            <a:spLocks noGrp="1"/>
          </p:cNvSpPr>
          <p:nvPr>
            <p:custDataLst>
              <p:tags r:id="rId55"/>
            </p:custDataLst>
          </p:nvPr>
        </p:nvSpPr>
        <p:spPr bwMode="gray">
          <a:xfrm>
            <a:off x="10660063"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17ADF8E6-0264-4BA9-BEE4-A04A9A684EEF}" type="datetime'''3''''''''''6'''''''''''''''''''''''''''''''''''''''''''">
              <a:rPr lang="es-CO" altLang="en-US" sz="1200">
                <a:solidFill>
                  <a:srgbClr val="000000"/>
                </a:solidFill>
                <a:sym typeface="+mn-lt"/>
              </a:rPr>
              <a:pPr algn="ctr" defTabSz="671464">
                <a:lnSpc>
                  <a:spcPct val="90000"/>
                </a:lnSpc>
                <a:buClr>
                  <a:srgbClr val="002960"/>
                </a:buClr>
              </a:pPr>
              <a:t>36</a:t>
            </a:fld>
            <a:endParaRPr lang="es-CO" altLang="en-US" sz="1200" dirty="0">
              <a:solidFill>
                <a:srgbClr val="000000"/>
              </a:solidFill>
              <a:sym typeface="+mn-lt"/>
            </a:endParaRPr>
          </a:p>
        </p:txBody>
      </p:sp>
      <p:sp>
        <p:nvSpPr>
          <p:cNvPr id="132" name="Text Placeholder 2"/>
          <p:cNvSpPr>
            <a:spLocks noGrp="1"/>
          </p:cNvSpPr>
          <p:nvPr>
            <p:custDataLst>
              <p:tags r:id="rId56"/>
            </p:custDataLst>
          </p:nvPr>
        </p:nvSpPr>
        <p:spPr bwMode="gray">
          <a:xfrm>
            <a:off x="2952750"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F48EFC3A-DF2A-41DC-AE01-B47A071F781D}" type="datetime'''''''''''''''''''''''''''''''''''6'''''''''''''''''">
              <a:rPr lang="es-CO" altLang="en-US" sz="1200">
                <a:solidFill>
                  <a:srgbClr val="000000"/>
                </a:solidFill>
                <a:sym typeface="+mn-lt"/>
              </a:rPr>
              <a:pPr algn="ctr" defTabSz="671464">
                <a:lnSpc>
                  <a:spcPct val="90000"/>
                </a:lnSpc>
                <a:buClr>
                  <a:srgbClr val="002960"/>
                </a:buClr>
              </a:pPr>
              <a:t>6</a:t>
            </a:fld>
            <a:endParaRPr lang="es-CO" altLang="en-US" sz="1200" dirty="0">
              <a:solidFill>
                <a:srgbClr val="000000"/>
              </a:solidFill>
              <a:sym typeface="+mn-lt"/>
            </a:endParaRPr>
          </a:p>
        </p:txBody>
      </p:sp>
      <p:sp>
        <p:nvSpPr>
          <p:cNvPr id="127" name="Text Placeholder 2"/>
          <p:cNvSpPr>
            <a:spLocks noGrp="1"/>
          </p:cNvSpPr>
          <p:nvPr>
            <p:custDataLst>
              <p:tags r:id="rId57"/>
            </p:custDataLst>
          </p:nvPr>
        </p:nvSpPr>
        <p:spPr bwMode="gray">
          <a:xfrm>
            <a:off x="796925"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16BEDD6F-7C23-4154-97F7-9882EF85AB47}" type="datetime'''''''''''1'''''''''''">
              <a:rPr lang="es-CO" altLang="en-US" sz="1200">
                <a:solidFill>
                  <a:srgbClr val="000000"/>
                </a:solidFill>
                <a:sym typeface="+mn-lt"/>
              </a:rPr>
              <a:pPr algn="ctr" defTabSz="671464">
                <a:lnSpc>
                  <a:spcPct val="90000"/>
                </a:lnSpc>
                <a:buClr>
                  <a:srgbClr val="002960"/>
                </a:buClr>
              </a:pPr>
              <a:t>1</a:t>
            </a:fld>
            <a:endParaRPr lang="es-CO" altLang="en-US" sz="1200" dirty="0">
              <a:solidFill>
                <a:srgbClr val="000000"/>
              </a:solidFill>
              <a:sym typeface="+mn-lt"/>
            </a:endParaRPr>
          </a:p>
        </p:txBody>
      </p:sp>
      <p:sp>
        <p:nvSpPr>
          <p:cNvPr id="131" name="Text Placeholder 2"/>
          <p:cNvSpPr>
            <a:spLocks noGrp="1"/>
          </p:cNvSpPr>
          <p:nvPr>
            <p:custDataLst>
              <p:tags r:id="rId58"/>
            </p:custDataLst>
          </p:nvPr>
        </p:nvSpPr>
        <p:spPr bwMode="gray">
          <a:xfrm>
            <a:off x="2517775"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DE5BEBB9-18F0-42DC-BCBC-A3AB3E227E50}" type="datetime'''''''''''''''''''''''''''''''''''''''''''5'''''''''''">
              <a:rPr lang="es-CO" altLang="en-US" sz="1200">
                <a:solidFill>
                  <a:srgbClr val="000000"/>
                </a:solidFill>
                <a:sym typeface="+mn-lt"/>
              </a:rPr>
              <a:pPr algn="ctr" defTabSz="671464">
                <a:lnSpc>
                  <a:spcPct val="90000"/>
                </a:lnSpc>
                <a:buClr>
                  <a:srgbClr val="002960"/>
                </a:buClr>
              </a:pPr>
              <a:t>5</a:t>
            </a:fld>
            <a:endParaRPr lang="es-CO" altLang="en-US" sz="1200" dirty="0">
              <a:solidFill>
                <a:srgbClr val="000000"/>
              </a:solidFill>
              <a:sym typeface="+mn-lt"/>
            </a:endParaRPr>
          </a:p>
        </p:txBody>
      </p:sp>
      <p:sp>
        <p:nvSpPr>
          <p:cNvPr id="128" name="Text Placeholder 2"/>
          <p:cNvSpPr>
            <a:spLocks noGrp="1"/>
          </p:cNvSpPr>
          <p:nvPr>
            <p:custDataLst>
              <p:tags r:id="rId59"/>
            </p:custDataLst>
          </p:nvPr>
        </p:nvSpPr>
        <p:spPr bwMode="gray">
          <a:xfrm>
            <a:off x="1230313"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27EEEB63-52C4-4644-8E0E-42430D16590B}" type="datetime'''''''''''''''''''''2'''''''''">
              <a:rPr lang="es-CO" altLang="en-US" sz="1200">
                <a:solidFill>
                  <a:srgbClr val="000000"/>
                </a:solidFill>
                <a:sym typeface="+mn-lt"/>
              </a:rPr>
              <a:pPr algn="ctr" defTabSz="671464">
                <a:lnSpc>
                  <a:spcPct val="90000"/>
                </a:lnSpc>
                <a:buClr>
                  <a:srgbClr val="002960"/>
                </a:buClr>
              </a:pPr>
              <a:t>2</a:t>
            </a:fld>
            <a:endParaRPr lang="es-CO" altLang="en-US" sz="1200" dirty="0">
              <a:solidFill>
                <a:srgbClr val="000000"/>
              </a:solidFill>
              <a:sym typeface="+mn-lt"/>
            </a:endParaRPr>
          </a:p>
        </p:txBody>
      </p:sp>
      <p:sp>
        <p:nvSpPr>
          <p:cNvPr id="130" name="Text Placeholder 2"/>
          <p:cNvSpPr>
            <a:spLocks noGrp="1"/>
          </p:cNvSpPr>
          <p:nvPr>
            <p:custDataLst>
              <p:tags r:id="rId60"/>
            </p:custDataLst>
          </p:nvPr>
        </p:nvSpPr>
        <p:spPr bwMode="gray">
          <a:xfrm>
            <a:off x="2092325"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9B294138-522B-48A5-A513-E13B0C9E341B}" type="datetime'''''4'''''''''''''''''''''''''''''''''''''''''">
              <a:rPr lang="es-CO" altLang="en-US" sz="1200">
                <a:solidFill>
                  <a:srgbClr val="000000"/>
                </a:solidFill>
                <a:sym typeface="+mn-lt"/>
              </a:rPr>
              <a:pPr algn="ctr" defTabSz="671464">
                <a:lnSpc>
                  <a:spcPct val="90000"/>
                </a:lnSpc>
                <a:buClr>
                  <a:srgbClr val="002960"/>
                </a:buClr>
              </a:pPr>
              <a:t>4</a:t>
            </a:fld>
            <a:endParaRPr lang="es-CO" altLang="en-US" sz="1200" dirty="0">
              <a:solidFill>
                <a:srgbClr val="000000"/>
              </a:solidFill>
              <a:sym typeface="+mn-lt"/>
            </a:endParaRPr>
          </a:p>
        </p:txBody>
      </p:sp>
      <p:sp>
        <p:nvSpPr>
          <p:cNvPr id="129" name="Text Placeholder 2"/>
          <p:cNvSpPr>
            <a:spLocks noGrp="1"/>
          </p:cNvSpPr>
          <p:nvPr>
            <p:custDataLst>
              <p:tags r:id="rId61"/>
            </p:custDataLst>
          </p:nvPr>
        </p:nvSpPr>
        <p:spPr bwMode="gray">
          <a:xfrm>
            <a:off x="1657350"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4AEC2BD6-1736-4915-A7EE-0AF0E24C54EF}" type="datetime'''''''''''''''''''''''''''''''''''''''''''''''''''''3'''''''''">
              <a:rPr lang="es-CO" altLang="en-US" sz="1200">
                <a:solidFill>
                  <a:srgbClr val="000000"/>
                </a:solidFill>
                <a:sym typeface="+mn-lt"/>
              </a:rPr>
              <a:pPr algn="ctr" defTabSz="671464">
                <a:lnSpc>
                  <a:spcPct val="90000"/>
                </a:lnSpc>
                <a:buClr>
                  <a:srgbClr val="002960"/>
                </a:buClr>
              </a:pPr>
              <a:t>3</a:t>
            </a:fld>
            <a:endParaRPr lang="es-CO" altLang="en-US" sz="1200" dirty="0">
              <a:solidFill>
                <a:srgbClr val="000000"/>
              </a:solidFill>
              <a:sym typeface="+mn-lt"/>
            </a:endParaRPr>
          </a:p>
        </p:txBody>
      </p:sp>
      <p:sp>
        <p:nvSpPr>
          <p:cNvPr id="133" name="Text Placeholder 2"/>
          <p:cNvSpPr>
            <a:spLocks noGrp="1"/>
          </p:cNvSpPr>
          <p:nvPr>
            <p:custDataLst>
              <p:tags r:id="rId62"/>
            </p:custDataLst>
          </p:nvPr>
        </p:nvSpPr>
        <p:spPr bwMode="gray">
          <a:xfrm>
            <a:off x="3379788"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C1F10C07-389D-4DBC-9801-E1AB746BB4A4}" type="datetime'''''''''''''7'''''''''''''''''">
              <a:rPr lang="es-CO" altLang="en-US" sz="1200">
                <a:solidFill>
                  <a:srgbClr val="000000"/>
                </a:solidFill>
                <a:sym typeface="+mn-lt"/>
              </a:rPr>
              <a:pPr algn="ctr" defTabSz="671464">
                <a:lnSpc>
                  <a:spcPct val="90000"/>
                </a:lnSpc>
                <a:buClr>
                  <a:srgbClr val="002960"/>
                </a:buClr>
              </a:pPr>
              <a:t>7</a:t>
            </a:fld>
            <a:endParaRPr lang="es-CO" altLang="en-US" sz="1200" dirty="0">
              <a:solidFill>
                <a:srgbClr val="000000"/>
              </a:solidFill>
              <a:sym typeface="+mn-lt"/>
            </a:endParaRPr>
          </a:p>
        </p:txBody>
      </p:sp>
      <p:sp>
        <p:nvSpPr>
          <p:cNvPr id="134" name="Text Placeholder 2"/>
          <p:cNvSpPr>
            <a:spLocks noGrp="1"/>
          </p:cNvSpPr>
          <p:nvPr>
            <p:custDataLst>
              <p:tags r:id="rId63"/>
            </p:custDataLst>
          </p:nvPr>
        </p:nvSpPr>
        <p:spPr bwMode="gray">
          <a:xfrm>
            <a:off x="3813175" y="5734050"/>
            <a:ext cx="8453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BA126F5C-CA8A-4F91-8818-EEF36E648840}" type="datetime'''''''''''''''''''''''''''''''''8'''''''">
              <a:rPr lang="es-CO" altLang="en-US" sz="1200">
                <a:solidFill>
                  <a:srgbClr val="000000"/>
                </a:solidFill>
                <a:sym typeface="+mn-lt"/>
              </a:rPr>
              <a:pPr algn="ctr" defTabSz="671464">
                <a:lnSpc>
                  <a:spcPct val="90000"/>
                </a:lnSpc>
                <a:buClr>
                  <a:srgbClr val="002960"/>
                </a:buClr>
              </a:pPr>
              <a:t>8</a:t>
            </a:fld>
            <a:endParaRPr lang="es-CO" altLang="en-US" sz="1200" dirty="0">
              <a:solidFill>
                <a:srgbClr val="000000"/>
              </a:solidFill>
              <a:sym typeface="+mn-lt"/>
            </a:endParaRPr>
          </a:p>
        </p:txBody>
      </p:sp>
      <p:sp>
        <p:nvSpPr>
          <p:cNvPr id="138" name="Text Placeholder 2"/>
          <p:cNvSpPr>
            <a:spLocks noGrp="1"/>
          </p:cNvSpPr>
          <p:nvPr>
            <p:custDataLst>
              <p:tags r:id="rId64"/>
            </p:custDataLst>
          </p:nvPr>
        </p:nvSpPr>
        <p:spPr bwMode="gray">
          <a:xfrm>
            <a:off x="5919788"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DC388840-151D-4CD6-9F7B-BD37612650CD}" type="datetime'''''''''''''''''1''''''''''''''3'''''''''''''''''''''''''''''">
              <a:rPr lang="es-CO" altLang="en-US" sz="1200">
                <a:solidFill>
                  <a:srgbClr val="000000"/>
                </a:solidFill>
                <a:sym typeface="+mn-lt"/>
              </a:rPr>
              <a:pPr algn="ctr" defTabSz="671464">
                <a:lnSpc>
                  <a:spcPct val="90000"/>
                </a:lnSpc>
                <a:buClr>
                  <a:srgbClr val="002960"/>
                </a:buClr>
              </a:pPr>
              <a:t>13</a:t>
            </a:fld>
            <a:endParaRPr lang="es-CO" altLang="en-US" sz="1200" dirty="0">
              <a:solidFill>
                <a:srgbClr val="000000"/>
              </a:solidFill>
              <a:sym typeface="+mn-lt"/>
            </a:endParaRPr>
          </a:p>
        </p:txBody>
      </p:sp>
      <p:sp>
        <p:nvSpPr>
          <p:cNvPr id="139" name="Text Placeholder 2"/>
          <p:cNvSpPr>
            <a:spLocks noGrp="1"/>
          </p:cNvSpPr>
          <p:nvPr>
            <p:custDataLst>
              <p:tags r:id="rId65"/>
            </p:custDataLst>
          </p:nvPr>
        </p:nvSpPr>
        <p:spPr bwMode="gray">
          <a:xfrm>
            <a:off x="6354763"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AA7CB526-1AEC-4485-A9C4-7EC5B950F0EF}" type="datetime'''1''4'''''''''''''''''''''''">
              <a:rPr lang="es-CO" altLang="en-US" sz="1200">
                <a:solidFill>
                  <a:srgbClr val="000000"/>
                </a:solidFill>
                <a:sym typeface="+mn-lt"/>
              </a:rPr>
              <a:pPr algn="ctr" defTabSz="671464">
                <a:lnSpc>
                  <a:spcPct val="90000"/>
                </a:lnSpc>
                <a:buClr>
                  <a:srgbClr val="002960"/>
                </a:buClr>
              </a:pPr>
              <a:t>14</a:t>
            </a:fld>
            <a:endParaRPr lang="es-CO" altLang="en-US" sz="1200" dirty="0">
              <a:solidFill>
                <a:srgbClr val="000000"/>
              </a:solidFill>
              <a:sym typeface="+mn-lt"/>
            </a:endParaRPr>
          </a:p>
        </p:txBody>
      </p:sp>
      <p:sp>
        <p:nvSpPr>
          <p:cNvPr id="142" name="Text Placeholder 2"/>
          <p:cNvSpPr>
            <a:spLocks noGrp="1"/>
          </p:cNvSpPr>
          <p:nvPr>
            <p:custDataLst>
              <p:tags r:id="rId66"/>
            </p:custDataLst>
          </p:nvPr>
        </p:nvSpPr>
        <p:spPr bwMode="gray">
          <a:xfrm>
            <a:off x="7642225"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151D972A-09CE-4430-9AE0-37439C00D138}" type="datetime'''''''''''''''''''''''''''''''1''7'''''''''''''''''''''">
              <a:rPr lang="es-CO" altLang="en-US" sz="1200">
                <a:solidFill>
                  <a:srgbClr val="000000"/>
                </a:solidFill>
                <a:sym typeface="+mn-lt"/>
              </a:rPr>
              <a:pPr algn="ctr" defTabSz="671464">
                <a:lnSpc>
                  <a:spcPct val="90000"/>
                </a:lnSpc>
                <a:buClr>
                  <a:srgbClr val="002960"/>
                </a:buClr>
              </a:pPr>
              <a:t>17</a:t>
            </a:fld>
            <a:endParaRPr lang="es-CO" altLang="en-US" sz="1200" dirty="0">
              <a:solidFill>
                <a:srgbClr val="000000"/>
              </a:solidFill>
              <a:sym typeface="+mn-lt"/>
            </a:endParaRPr>
          </a:p>
        </p:txBody>
      </p:sp>
      <p:sp>
        <p:nvSpPr>
          <p:cNvPr id="137" name="Text Placeholder 2"/>
          <p:cNvSpPr>
            <a:spLocks noGrp="1"/>
          </p:cNvSpPr>
          <p:nvPr>
            <p:custDataLst>
              <p:tags r:id="rId67"/>
            </p:custDataLst>
          </p:nvPr>
        </p:nvSpPr>
        <p:spPr bwMode="gray">
          <a:xfrm>
            <a:off x="5492750"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5816000F-B0FB-4212-970C-AD03ADE66413}" type="datetime'''''''''1''''''''''''''''''''''''''''''''''''''2'">
              <a:rPr lang="es-CO" altLang="en-US" sz="1200">
                <a:solidFill>
                  <a:srgbClr val="000000"/>
                </a:solidFill>
                <a:sym typeface="+mn-lt"/>
              </a:rPr>
              <a:pPr algn="ctr" defTabSz="671464">
                <a:lnSpc>
                  <a:spcPct val="90000"/>
                </a:lnSpc>
                <a:buClr>
                  <a:srgbClr val="002960"/>
                </a:buClr>
              </a:pPr>
              <a:t>12</a:t>
            </a:fld>
            <a:endParaRPr lang="es-CO" altLang="en-US" sz="1200" dirty="0">
              <a:solidFill>
                <a:srgbClr val="000000"/>
              </a:solidFill>
              <a:sym typeface="+mn-lt"/>
            </a:endParaRPr>
          </a:p>
        </p:txBody>
      </p:sp>
      <p:sp>
        <p:nvSpPr>
          <p:cNvPr id="141" name="Text Placeholder 2"/>
          <p:cNvSpPr>
            <a:spLocks noGrp="1"/>
          </p:cNvSpPr>
          <p:nvPr>
            <p:custDataLst>
              <p:tags r:id="rId68"/>
            </p:custDataLst>
          </p:nvPr>
        </p:nvSpPr>
        <p:spPr bwMode="gray">
          <a:xfrm>
            <a:off x="7215188"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033A8FBB-7157-4236-88DA-CC6D262C7798}" type="datetime'''1''''''''''''''''''''''''''''''6'''''''''''''">
              <a:rPr lang="es-CO" altLang="en-US" sz="1200">
                <a:solidFill>
                  <a:srgbClr val="000000"/>
                </a:solidFill>
                <a:sym typeface="+mn-lt"/>
              </a:rPr>
              <a:pPr algn="ctr" defTabSz="671464">
                <a:lnSpc>
                  <a:spcPct val="90000"/>
                </a:lnSpc>
                <a:buClr>
                  <a:srgbClr val="002960"/>
                </a:buClr>
              </a:pPr>
              <a:t>16</a:t>
            </a:fld>
            <a:endParaRPr lang="es-CO" altLang="en-US" sz="1200" dirty="0">
              <a:solidFill>
                <a:srgbClr val="000000"/>
              </a:solidFill>
              <a:sym typeface="+mn-lt"/>
            </a:endParaRPr>
          </a:p>
        </p:txBody>
      </p:sp>
      <p:sp>
        <p:nvSpPr>
          <p:cNvPr id="140" name="Text Placeholder 2"/>
          <p:cNvSpPr>
            <a:spLocks noGrp="1"/>
          </p:cNvSpPr>
          <p:nvPr>
            <p:custDataLst>
              <p:tags r:id="rId69"/>
            </p:custDataLst>
          </p:nvPr>
        </p:nvSpPr>
        <p:spPr bwMode="gray">
          <a:xfrm>
            <a:off x="6780213"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04041761-8D59-437C-A6C1-580CCA9542B9}" type="datetime'1''''''''''''''''''''''''''''''5'''''''''''''''''''''">
              <a:rPr lang="es-CO" altLang="en-US" sz="1200">
                <a:solidFill>
                  <a:srgbClr val="000000"/>
                </a:solidFill>
                <a:sym typeface="+mn-lt"/>
              </a:rPr>
              <a:pPr algn="ctr" defTabSz="671464">
                <a:lnSpc>
                  <a:spcPct val="90000"/>
                </a:lnSpc>
                <a:buClr>
                  <a:srgbClr val="002960"/>
                </a:buClr>
              </a:pPr>
              <a:t>15</a:t>
            </a:fld>
            <a:endParaRPr lang="es-CO" altLang="en-US" sz="1200" dirty="0">
              <a:solidFill>
                <a:srgbClr val="000000"/>
              </a:solidFill>
              <a:sym typeface="+mn-lt"/>
            </a:endParaRPr>
          </a:p>
        </p:txBody>
      </p:sp>
      <p:sp>
        <p:nvSpPr>
          <p:cNvPr id="43" name="Text Placeholder 58"/>
          <p:cNvSpPr>
            <a:spLocks noGrp="1"/>
          </p:cNvSpPr>
          <p:nvPr>
            <p:custDataLst>
              <p:tags r:id="rId70"/>
            </p:custDataLst>
          </p:nvPr>
        </p:nvSpPr>
        <p:spPr bwMode="gray">
          <a:xfrm>
            <a:off x="4632325" y="5734050"/>
            <a:ext cx="169061" cy="1651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lnSpc>
                <a:spcPct val="90000"/>
              </a:lnSpc>
              <a:buClr>
                <a:srgbClr val="002960"/>
              </a:buClr>
            </a:pPr>
            <a:fld id="{93834A89-3C27-4A67-9717-B15FD3CDDBFD}" type="datetime'''''''''''''''''''''''1''''''''0'''''''''''''''''''''''">
              <a:rPr lang="es-CO" altLang="en-US">
                <a:solidFill>
                  <a:srgbClr val="000000"/>
                </a:solidFill>
                <a:sym typeface="+mn-lt"/>
              </a:rPr>
              <a:pPr algn="ctr" defTabSz="671464">
                <a:lnSpc>
                  <a:spcPct val="90000"/>
                </a:lnSpc>
                <a:buClr>
                  <a:srgbClr val="002960"/>
                </a:buClr>
              </a:pPr>
              <a:t>10</a:t>
            </a:fld>
            <a:endParaRPr lang="es-CO" altLang="en-US" dirty="0">
              <a:solidFill>
                <a:srgbClr val="000000"/>
              </a:solidFill>
              <a:sym typeface="+mn-lt"/>
            </a:endParaRPr>
          </a:p>
        </p:txBody>
      </p:sp>
      <p:sp>
        <p:nvSpPr>
          <p:cNvPr id="143" name="Text Placeholder 2"/>
          <p:cNvSpPr>
            <a:spLocks noGrp="1"/>
          </p:cNvSpPr>
          <p:nvPr>
            <p:custDataLst>
              <p:tags r:id="rId71"/>
            </p:custDataLst>
          </p:nvPr>
        </p:nvSpPr>
        <p:spPr bwMode="gray">
          <a:xfrm>
            <a:off x="8075613" y="5734050"/>
            <a:ext cx="169061" cy="1651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defTabSz="671464">
              <a:lnSpc>
                <a:spcPct val="90000"/>
              </a:lnSpc>
              <a:buClr>
                <a:srgbClr val="002960"/>
              </a:buClr>
            </a:pPr>
            <a:fld id="{5052C02B-BB22-42D7-8BCB-70AC7A727E84}" type="datetime'''1''''''''''''''''''''8'''''''''''''''">
              <a:rPr lang="es-CO" altLang="en-US" sz="1200">
                <a:solidFill>
                  <a:srgbClr val="000000"/>
                </a:solidFill>
                <a:sym typeface="+mn-lt"/>
              </a:rPr>
              <a:pPr algn="ctr" defTabSz="671464">
                <a:lnSpc>
                  <a:spcPct val="90000"/>
                </a:lnSpc>
                <a:buClr>
                  <a:srgbClr val="002960"/>
                </a:buClr>
              </a:pPr>
              <a:t>18</a:t>
            </a:fld>
            <a:endParaRPr lang="es-CO" altLang="en-US" sz="1200" dirty="0">
              <a:solidFill>
                <a:srgbClr val="000000"/>
              </a:solidFill>
              <a:sym typeface="+mn-lt"/>
            </a:endParaRPr>
          </a:p>
        </p:txBody>
      </p:sp>
      <p:sp useBgFill="1">
        <p:nvSpPr>
          <p:cNvPr id="12" name="Freeform: Shape 11">
            <a:extLst>
              <a:ext uri="{FF2B5EF4-FFF2-40B4-BE49-F238E27FC236}">
                <a16:creationId xmlns:a16="http://schemas.microsoft.com/office/drawing/2014/main" id="{551FFE88-3DFE-4C16-976C-40964B170841}"/>
              </a:ext>
            </a:extLst>
          </p:cNvPr>
          <p:cNvSpPr/>
          <p:nvPr>
            <p:custDataLst>
              <p:tags r:id="rId72"/>
            </p:custDataLst>
          </p:nvPr>
        </p:nvSpPr>
        <p:spPr bwMode="auto">
          <a:xfrm>
            <a:off x="10429875" y="5561013"/>
            <a:ext cx="96839" cy="146051"/>
          </a:xfrm>
          <a:custGeom>
            <a:avLst/>
            <a:gdLst/>
            <a:ahLst/>
            <a:cxnLst/>
            <a:rect l="0" t="0" r="0" b="0"/>
            <a:pathLst>
              <a:path w="96839" h="146051">
                <a:moveTo>
                  <a:pt x="96838" y="0"/>
                </a:moveTo>
                <a:lnTo>
                  <a:pt x="57150" y="146050"/>
                </a:lnTo>
                <a:lnTo>
                  <a:pt x="0" y="146050"/>
                </a:lnTo>
                <a:lnTo>
                  <a:pt x="39688" y="0"/>
                </a:lnTo>
                <a:close/>
              </a:path>
            </a:pathLst>
          </a:custGeom>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err="1">
              <a:solidFill>
                <a:schemeClr val="tx1"/>
              </a:solidFill>
            </a:endParaRPr>
          </a:p>
        </p:txBody>
      </p:sp>
      <p:sp>
        <p:nvSpPr>
          <p:cNvPr id="11" name="Freeform: Shape 10">
            <a:extLst>
              <a:ext uri="{FF2B5EF4-FFF2-40B4-BE49-F238E27FC236}">
                <a16:creationId xmlns:a16="http://schemas.microsoft.com/office/drawing/2014/main" id="{F8E7796D-6DDB-42AB-852B-6D51F1F2E6CD}"/>
              </a:ext>
            </a:extLst>
          </p:cNvPr>
          <p:cNvSpPr/>
          <p:nvPr>
            <p:custDataLst>
              <p:tags r:id="rId73"/>
            </p:custDataLst>
          </p:nvPr>
        </p:nvSpPr>
        <p:spPr bwMode="auto">
          <a:xfrm>
            <a:off x="10487025" y="5561013"/>
            <a:ext cx="39689" cy="146051"/>
          </a:xfrm>
          <a:custGeom>
            <a:avLst/>
            <a:gdLst/>
            <a:ahLst/>
            <a:cxnLst/>
            <a:rect l="0" t="0" r="0" b="0"/>
            <a:pathLst>
              <a:path w="39689" h="146051">
                <a:moveTo>
                  <a:pt x="39688" y="0"/>
                </a:moveTo>
                <a:lnTo>
                  <a:pt x="0" y="146050"/>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10" name="Freeform: Shape 9">
            <a:extLst>
              <a:ext uri="{FF2B5EF4-FFF2-40B4-BE49-F238E27FC236}">
                <a16:creationId xmlns:a16="http://schemas.microsoft.com/office/drawing/2014/main" id="{48899C42-6618-49EB-A893-E98E495C9C0F}"/>
              </a:ext>
            </a:extLst>
          </p:cNvPr>
          <p:cNvSpPr/>
          <p:nvPr>
            <p:custDataLst>
              <p:tags r:id="rId74"/>
            </p:custDataLst>
          </p:nvPr>
        </p:nvSpPr>
        <p:spPr bwMode="auto">
          <a:xfrm>
            <a:off x="10429875" y="5561013"/>
            <a:ext cx="39689" cy="146051"/>
          </a:xfrm>
          <a:custGeom>
            <a:avLst/>
            <a:gdLst/>
            <a:ahLst/>
            <a:cxnLst/>
            <a:rect l="0" t="0" r="0" b="0"/>
            <a:pathLst>
              <a:path w="39689" h="146051">
                <a:moveTo>
                  <a:pt x="39688" y="0"/>
                </a:moveTo>
                <a:lnTo>
                  <a:pt x="0" y="146050"/>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cxnSp>
        <p:nvCxnSpPr>
          <p:cNvPr id="78" name="Straight Connector 77"/>
          <p:cNvCxnSpPr>
            <a:cxnSpLocks/>
          </p:cNvCxnSpPr>
          <p:nvPr>
            <p:custDataLst>
              <p:tags r:id="rId75"/>
            </p:custDataLst>
          </p:nvPr>
        </p:nvCxnSpPr>
        <p:spPr bwMode="gray">
          <a:xfrm>
            <a:off x="1943100" y="2095500"/>
            <a:ext cx="779463" cy="3360738"/>
          </a:xfrm>
          <a:prstGeom prst="line">
            <a:avLst/>
          </a:prstGeom>
          <a:ln w="31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cxnSpLocks/>
          </p:cNvCxnSpPr>
          <p:nvPr>
            <p:custDataLst>
              <p:tags r:id="rId76"/>
            </p:custDataLst>
          </p:nvPr>
        </p:nvCxnSpPr>
        <p:spPr bwMode="gray">
          <a:xfrm>
            <a:off x="5473700" y="3952875"/>
            <a:ext cx="1055688" cy="90805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p:cNvCxnSpPr>
          <p:nvPr>
            <p:custDataLst>
              <p:tags r:id="rId77"/>
            </p:custDataLst>
          </p:nvPr>
        </p:nvCxnSpPr>
        <p:spPr bwMode="gray">
          <a:xfrm>
            <a:off x="8174038" y="4313238"/>
            <a:ext cx="125413" cy="212725"/>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78"/>
            </p:custDataLst>
          </p:nvPr>
        </p:nvCxnSpPr>
        <p:spPr bwMode="gray">
          <a:xfrm>
            <a:off x="6307138" y="3287713"/>
            <a:ext cx="2273300" cy="1319213"/>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79"/>
            </p:custDataLst>
          </p:nvPr>
        </p:nvCxnSpPr>
        <p:spPr bwMode="gray">
          <a:xfrm>
            <a:off x="3946525" y="3019425"/>
            <a:ext cx="1343025" cy="115570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cxnSpLocks/>
          </p:cNvCxnSpPr>
          <p:nvPr>
            <p:custDataLst>
              <p:tags r:id="rId80"/>
            </p:custDataLst>
          </p:nvPr>
        </p:nvCxnSpPr>
        <p:spPr bwMode="gray">
          <a:xfrm>
            <a:off x="2414588" y="3814763"/>
            <a:ext cx="263525" cy="1619250"/>
          </a:xfrm>
          <a:prstGeom prst="line">
            <a:avLst/>
          </a:prstGeom>
          <a:ln w="31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custDataLst>
              <p:tags r:id="rId81"/>
            </p:custDataLst>
          </p:nvPr>
        </p:nvCxnSpPr>
        <p:spPr bwMode="gray">
          <a:xfrm>
            <a:off x="6835775" y="1992313"/>
            <a:ext cx="1217613" cy="846138"/>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82"/>
            </p:custDataLst>
          </p:nvPr>
        </p:nvCxnSpPr>
        <p:spPr bwMode="gray">
          <a:xfrm>
            <a:off x="5464175" y="1927225"/>
            <a:ext cx="1241425" cy="81915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cxnSpLocks/>
          </p:cNvCxnSpPr>
          <p:nvPr>
            <p:custDataLst>
              <p:tags r:id="rId83"/>
            </p:custDataLst>
          </p:nvPr>
        </p:nvCxnSpPr>
        <p:spPr bwMode="gray">
          <a:xfrm>
            <a:off x="1689100" y="2690813"/>
            <a:ext cx="504825" cy="1739900"/>
          </a:xfrm>
          <a:prstGeom prst="line">
            <a:avLst/>
          </a:prstGeom>
          <a:ln w="317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95" name="Text Placeholder 8"/>
          <p:cNvSpPr>
            <a:spLocks noGrp="1"/>
          </p:cNvSpPr>
          <p:nvPr>
            <p:custDataLst>
              <p:tags r:id="rId84"/>
            </p:custDataLst>
          </p:nvPr>
        </p:nvSpPr>
        <p:spPr bwMode="gray">
          <a:xfrm>
            <a:off x="1157288" y="2508250"/>
            <a:ext cx="1009650" cy="183348"/>
          </a:xfrm>
          <a:prstGeom prst="rect">
            <a:avLst/>
          </a:prstGeom>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2"/>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2"/>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2"/>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4F7A4230-1BAC-466F-B26C-F7DDCB7A4420}" type="datetime'Sa''''n Fr''a''''''''''n''''''c''''''i''s''''''co'''''''''">
              <a:rPr lang="es-CO" altLang="en-US" sz="1200">
                <a:solidFill>
                  <a:srgbClr val="000000"/>
                </a:solidFill>
                <a:ea typeface="+mn-ea"/>
                <a:cs typeface="+mn-cs"/>
                <a:sym typeface="+mn-lt"/>
              </a:rPr>
              <a:pPr defTabSz="671464">
                <a:buClr>
                  <a:srgbClr val="002960"/>
                </a:buClr>
              </a:pPr>
              <a:t>San Francisco</a:t>
            </a:fld>
            <a:endParaRPr lang="es-CO" altLang="en-US" sz="1200" dirty="0">
              <a:solidFill>
                <a:srgbClr val="000000"/>
              </a:solidFill>
              <a:ea typeface="+mn-ea"/>
              <a:cs typeface="+mn-cs"/>
              <a:sym typeface="+mn-lt"/>
            </a:endParaRPr>
          </a:p>
        </p:txBody>
      </p:sp>
      <p:sp useBgFill="1">
        <p:nvSpPr>
          <p:cNvPr id="96" name="Text Placeholder 94"/>
          <p:cNvSpPr>
            <a:spLocks noGrp="1"/>
          </p:cNvSpPr>
          <p:nvPr>
            <p:custDataLst>
              <p:tags r:id="rId85"/>
            </p:custDataLst>
          </p:nvPr>
        </p:nvSpPr>
        <p:spPr bwMode="gray">
          <a:xfrm>
            <a:off x="7780338" y="4130675"/>
            <a:ext cx="681008" cy="183348"/>
          </a:xfrm>
          <a:prstGeom prst="rect">
            <a:avLst/>
          </a:prstGeom>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5F6C5DDE-5DC9-41CF-965E-EA86BFCE919B}" type="datetime'''''N''''ew'' ''''''Y''''''''''''''''''o''''rk'''">
              <a:rPr lang="es-CO" altLang="en-US">
                <a:solidFill>
                  <a:srgbClr val="000000"/>
                </a:solidFill>
                <a:sym typeface="+mn-lt"/>
              </a:rPr>
              <a:pPr defTabSz="671464">
                <a:buClr>
                  <a:srgbClr val="002960"/>
                </a:buClr>
              </a:pPr>
              <a:t>New York</a:t>
            </a:fld>
            <a:endParaRPr lang="es-CO" altLang="en-US" dirty="0">
              <a:solidFill>
                <a:srgbClr val="000000"/>
              </a:solidFill>
              <a:sym typeface="+mn-lt"/>
            </a:endParaRPr>
          </a:p>
        </p:txBody>
      </p:sp>
      <p:sp>
        <p:nvSpPr>
          <p:cNvPr id="84" name="Text Placeholder 4"/>
          <p:cNvSpPr>
            <a:spLocks noGrp="1"/>
          </p:cNvSpPr>
          <p:nvPr>
            <p:custDataLst>
              <p:tags r:id="rId86"/>
            </p:custDataLst>
          </p:nvPr>
        </p:nvSpPr>
        <p:spPr bwMode="gray">
          <a:xfrm>
            <a:off x="4321175" y="3813175"/>
            <a:ext cx="519113"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09E8E84-426E-40dd-AFC4-6F175D3DCCD1}">
              <a14:hiddenFill xmlns:a14="http://schemas.microsoft.com/office/drawing/2010/main" xmlns="">
                <a:solidFill>
                  <a:srgbClr val="C9D21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2"/>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2"/>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2"/>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462FB10E-6201-43D8-BCF8-4D845E9764DF}" type="datetime'''''''B''o''''''''''g''''''''''''o''''t''''''a'''''''''''''">
              <a:rPr lang="es-CO" altLang="en-US" sz="1200">
                <a:solidFill>
                  <a:srgbClr val="000000"/>
                </a:solidFill>
                <a:ea typeface="+mn-ea"/>
                <a:cs typeface="+mn-cs"/>
                <a:sym typeface="+mn-lt"/>
              </a:rPr>
              <a:pPr defTabSz="671464">
                <a:buClr>
                  <a:srgbClr val="002960"/>
                </a:buClr>
              </a:pPr>
              <a:t>Bogota</a:t>
            </a:fld>
            <a:endParaRPr lang="es-CO" altLang="en-US" sz="1200" dirty="0">
              <a:solidFill>
                <a:srgbClr val="000000"/>
              </a:solidFill>
              <a:ea typeface="+mn-ea"/>
              <a:cs typeface="+mn-cs"/>
              <a:sym typeface="+mn-lt"/>
            </a:endParaRPr>
          </a:p>
        </p:txBody>
      </p:sp>
      <p:sp useBgFill="1">
        <p:nvSpPr>
          <p:cNvPr id="87" name="Text Placeholder 11"/>
          <p:cNvSpPr>
            <a:spLocks noGrp="1"/>
          </p:cNvSpPr>
          <p:nvPr>
            <p:custDataLst>
              <p:tags r:id="rId87"/>
            </p:custDataLst>
          </p:nvPr>
        </p:nvSpPr>
        <p:spPr bwMode="gray">
          <a:xfrm>
            <a:off x="2144713" y="3632200"/>
            <a:ext cx="511945" cy="183348"/>
          </a:xfrm>
          <a:prstGeom prst="rect">
            <a:avLst/>
          </a:prstGeom>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2"/>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2"/>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2"/>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926A2B02-9697-411C-BEE4-DDF7851222EC}" type="datetime'''A''''''tl''''''''''''''''''''''''''a''''n''''''t''''''a'">
              <a:rPr lang="es-CO" altLang="en-US" sz="1200">
                <a:solidFill>
                  <a:srgbClr val="000000"/>
                </a:solidFill>
                <a:ea typeface="+mn-ea"/>
                <a:cs typeface="+mn-cs"/>
                <a:sym typeface="+mn-lt"/>
              </a:rPr>
              <a:pPr defTabSz="671464">
                <a:buClr>
                  <a:srgbClr val="002960"/>
                </a:buClr>
              </a:pPr>
              <a:t>Atlanta</a:t>
            </a:fld>
            <a:endParaRPr lang="es-CO" altLang="en-US" sz="1200" dirty="0">
              <a:solidFill>
                <a:srgbClr val="000000"/>
              </a:solidFill>
              <a:ea typeface="+mn-ea"/>
              <a:cs typeface="+mn-cs"/>
              <a:sym typeface="+mn-lt"/>
            </a:endParaRPr>
          </a:p>
        </p:txBody>
      </p:sp>
      <p:sp useBgFill="1">
        <p:nvSpPr>
          <p:cNvPr id="86" name="Text Placeholder 101"/>
          <p:cNvSpPr>
            <a:spLocks noGrp="1"/>
          </p:cNvSpPr>
          <p:nvPr>
            <p:custDataLst>
              <p:tags r:id="rId88"/>
            </p:custDataLst>
          </p:nvPr>
        </p:nvSpPr>
        <p:spPr bwMode="gray">
          <a:xfrm>
            <a:off x="5086350" y="1744663"/>
            <a:ext cx="476251" cy="183348"/>
          </a:xfrm>
          <a:prstGeom prst="rect">
            <a:avLst/>
          </a:prstGeom>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24DD0C73-7718-40A1-8931-2F72CB3DD3B8}" type="datetime'''D''''h''''a''''''''''''''''''''''''''''''''k''a'''">
              <a:rPr lang="es-CO" altLang="en-US">
                <a:sym typeface="+mn-lt"/>
              </a:rPr>
              <a:pPr defTabSz="671464">
                <a:buClr>
                  <a:srgbClr val="002960"/>
                </a:buClr>
              </a:pPr>
              <a:t>Dhaka</a:t>
            </a:fld>
            <a:endParaRPr lang="es-CO" altLang="en-US" dirty="0">
              <a:sym typeface="+mn-lt"/>
            </a:endParaRPr>
          </a:p>
        </p:txBody>
      </p:sp>
      <p:sp>
        <p:nvSpPr>
          <p:cNvPr id="85" name="Text Placeholder 100"/>
          <p:cNvSpPr>
            <a:spLocks noGrp="1"/>
          </p:cNvSpPr>
          <p:nvPr>
            <p:custDataLst>
              <p:tags r:id="rId89"/>
            </p:custDataLst>
          </p:nvPr>
        </p:nvSpPr>
        <p:spPr bwMode="gray">
          <a:xfrm>
            <a:off x="4821238" y="2065338"/>
            <a:ext cx="450850"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09E8E84-426E-40dd-AFC4-6F175D3DCCD1}">
              <a14:hiddenFill xmlns:a14="http://schemas.microsoft.com/office/drawing/2010/main" xmlns="">
                <a:solidFill>
                  <a:srgbClr val="DF430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9EA7A795-8DA4-472F-A0DA-DC6553092D35}" type="datetime'''''''''''''L''''''''a''''''''go''''''''''''''''''s'">
              <a:rPr lang="es-CO" altLang="en-US">
                <a:solidFill>
                  <a:srgbClr val="000000"/>
                </a:solidFill>
                <a:sym typeface="+mn-lt"/>
              </a:rPr>
              <a:pPr defTabSz="671464">
                <a:buClr>
                  <a:srgbClr val="002960"/>
                </a:buClr>
              </a:pPr>
              <a:t>Lagos</a:t>
            </a:fld>
            <a:endParaRPr lang="es-CO" altLang="en-US" dirty="0">
              <a:solidFill>
                <a:srgbClr val="000000"/>
              </a:solidFill>
              <a:sym typeface="+mn-lt"/>
            </a:endParaRPr>
          </a:p>
        </p:txBody>
      </p:sp>
      <p:sp>
        <p:nvSpPr>
          <p:cNvPr id="94" name="Text Placeholder 98"/>
          <p:cNvSpPr>
            <a:spLocks noGrp="1"/>
          </p:cNvSpPr>
          <p:nvPr>
            <p:custDataLst>
              <p:tags r:id="rId90"/>
            </p:custDataLst>
          </p:nvPr>
        </p:nvSpPr>
        <p:spPr bwMode="gray">
          <a:xfrm>
            <a:off x="10363200" y="4308475"/>
            <a:ext cx="677863"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4EB60BE3-6EDB-4D06-82C9-11DA74DDDC2C}" type="datetime'''''''''S''''''''''''''''''h''''a''''''''''''''n''ghai'''">
              <a:rPr lang="es-CO" altLang="en-US">
                <a:solidFill>
                  <a:srgbClr val="000000"/>
                </a:solidFill>
                <a:sym typeface="+mn-lt"/>
              </a:rPr>
              <a:pPr defTabSz="671464">
                <a:buClr>
                  <a:srgbClr val="002960"/>
                </a:buClr>
              </a:pPr>
              <a:t>Shanghai</a:t>
            </a:fld>
            <a:endParaRPr lang="es-CO" altLang="en-US" dirty="0">
              <a:solidFill>
                <a:srgbClr val="000000"/>
              </a:solidFill>
              <a:sym typeface="+mn-lt"/>
            </a:endParaRPr>
          </a:p>
        </p:txBody>
      </p:sp>
      <p:sp>
        <p:nvSpPr>
          <p:cNvPr id="93" name="Text Placeholder 4"/>
          <p:cNvSpPr>
            <a:spLocks noGrp="1"/>
          </p:cNvSpPr>
          <p:nvPr>
            <p:custDataLst>
              <p:tags r:id="rId91"/>
            </p:custDataLst>
          </p:nvPr>
        </p:nvSpPr>
        <p:spPr bwMode="gray">
          <a:xfrm>
            <a:off x="5780088" y="3105150"/>
            <a:ext cx="738187" cy="1833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buClr>
                <a:srgbClr val="002960"/>
              </a:buClr>
            </a:pPr>
            <a:r>
              <a:rPr lang="es-CO" dirty="0">
                <a:solidFill>
                  <a:srgbClr val="000000"/>
                </a:solidFill>
                <a:sym typeface="+mn-lt"/>
              </a:rPr>
              <a:t>Sao Paulo</a:t>
            </a:r>
          </a:p>
        </p:txBody>
      </p:sp>
      <p:sp>
        <p:nvSpPr>
          <p:cNvPr id="83" name="Text Placeholder 99"/>
          <p:cNvSpPr>
            <a:spLocks noGrp="1"/>
          </p:cNvSpPr>
          <p:nvPr>
            <p:custDataLst>
              <p:tags r:id="rId92"/>
            </p:custDataLst>
          </p:nvPr>
        </p:nvSpPr>
        <p:spPr bwMode="gray">
          <a:xfrm>
            <a:off x="6413500" y="1809750"/>
            <a:ext cx="577850" cy="1833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BBA53EDB-F1D0-48EB-99E5-6E60847BCCC8}" type="datetime'''''''Mum''''''''''b''''''''''''''a''''''''''''''''''''i'''''">
              <a:rPr lang="es-CO" altLang="en-US">
                <a:solidFill>
                  <a:srgbClr val="000000"/>
                </a:solidFill>
                <a:sym typeface="+mn-lt"/>
              </a:rPr>
              <a:pPr defTabSz="671464">
                <a:buClr>
                  <a:srgbClr val="002960"/>
                </a:buClr>
              </a:pPr>
              <a:t>Mumbai</a:t>
            </a:fld>
            <a:endParaRPr lang="es-CO" altLang="en-US" dirty="0">
              <a:solidFill>
                <a:srgbClr val="000000"/>
              </a:solidFill>
              <a:sym typeface="+mn-lt"/>
            </a:endParaRPr>
          </a:p>
        </p:txBody>
      </p:sp>
      <p:sp>
        <p:nvSpPr>
          <p:cNvPr id="90" name="Text Placeholder 5"/>
          <p:cNvSpPr>
            <a:spLocks noGrp="1"/>
          </p:cNvSpPr>
          <p:nvPr>
            <p:custDataLst>
              <p:tags r:id="rId93"/>
            </p:custDataLst>
          </p:nvPr>
        </p:nvSpPr>
        <p:spPr bwMode="gray">
          <a:xfrm>
            <a:off x="3332163" y="2836863"/>
            <a:ext cx="1016001"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F8018D20-AF50-48B5-9E13-FDA2F10490A8}" type="datetime'''R''io'''' ''d''''''e'''''''''''''''''''''' Ja''ne''''''iro'">
              <a:rPr lang="es-CO" altLang="en-US">
                <a:solidFill>
                  <a:srgbClr val="000000"/>
                </a:solidFill>
                <a:sym typeface="+mn-lt"/>
              </a:rPr>
              <a:pPr defTabSz="671464">
                <a:buClr>
                  <a:srgbClr val="002960"/>
                </a:buClr>
              </a:pPr>
              <a:t>Rio de Janeiro</a:t>
            </a:fld>
            <a:endParaRPr lang="es-CO" altLang="en-US" dirty="0">
              <a:solidFill>
                <a:srgbClr val="000000"/>
              </a:solidFill>
              <a:sym typeface="+mn-lt"/>
            </a:endParaRPr>
          </a:p>
        </p:txBody>
      </p:sp>
      <p:sp>
        <p:nvSpPr>
          <p:cNvPr id="88" name="Text Placeholder 30"/>
          <p:cNvSpPr>
            <a:spLocks noGrp="1"/>
          </p:cNvSpPr>
          <p:nvPr>
            <p:custDataLst>
              <p:tags r:id="rId94"/>
            </p:custDataLst>
          </p:nvPr>
        </p:nvSpPr>
        <p:spPr bwMode="auto">
          <a:xfrm>
            <a:off x="10382250" y="6021388"/>
            <a:ext cx="1306513" cy="16510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defTabSz="671464">
              <a:lnSpc>
                <a:spcPct val="90000"/>
              </a:lnSpc>
              <a:buClr>
                <a:srgbClr val="002960"/>
              </a:buClr>
            </a:pPr>
            <a:r>
              <a:rPr lang="es-CO" dirty="0">
                <a:solidFill>
                  <a:srgbClr val="00ADEF"/>
                </a:solidFill>
                <a:sym typeface="+mn-lt"/>
              </a:rPr>
              <a:t>Población,</a:t>
            </a:r>
            <a:r>
              <a:rPr lang="es-CO" dirty="0">
                <a:sym typeface="+mn-lt"/>
              </a:rPr>
              <a:t> </a:t>
            </a:r>
            <a:r>
              <a:rPr lang="es-CO" dirty="0">
                <a:solidFill>
                  <a:srgbClr val="808080"/>
                </a:solidFill>
                <a:sym typeface="+mn-lt"/>
              </a:rPr>
              <a:t>Millones</a:t>
            </a:r>
          </a:p>
        </p:txBody>
      </p:sp>
      <p:sp>
        <p:nvSpPr>
          <p:cNvPr id="89" name="Text Placeholder 7"/>
          <p:cNvSpPr>
            <a:spLocks noGrp="1"/>
          </p:cNvSpPr>
          <p:nvPr>
            <p:custDataLst>
              <p:tags r:id="rId95"/>
            </p:custDataLst>
          </p:nvPr>
        </p:nvSpPr>
        <p:spPr bwMode="gray">
          <a:xfrm>
            <a:off x="1338263" y="1912938"/>
            <a:ext cx="1169987"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2"/>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2"/>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2"/>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55A74448-6EF8-4ABE-8381-57ECD19F2E25}" type="datetime'''Bar''c''e''''l''''''o''n''''''''''''a ''''(E''S''P'''')'">
              <a:rPr lang="es-CO" altLang="en-US" sz="1200">
                <a:solidFill>
                  <a:schemeClr val="tx1"/>
                </a:solidFill>
                <a:ea typeface="+mn-ea"/>
                <a:cs typeface="+mn-cs"/>
                <a:sym typeface="+mn-lt"/>
              </a:rPr>
              <a:pPr defTabSz="671464">
                <a:buClr>
                  <a:srgbClr val="002960"/>
                </a:buClr>
              </a:pPr>
              <a:t>Barcelona (ESP)</a:t>
            </a:fld>
            <a:endParaRPr lang="es-CO" altLang="en-US" sz="1200" dirty="0">
              <a:solidFill>
                <a:schemeClr val="tx1"/>
              </a:solidFill>
              <a:ea typeface="+mn-ea"/>
              <a:cs typeface="+mn-cs"/>
              <a:sym typeface="+mn-lt"/>
            </a:endParaRPr>
          </a:p>
        </p:txBody>
      </p:sp>
      <p:sp>
        <p:nvSpPr>
          <p:cNvPr id="91" name="Text Placeholder 96"/>
          <p:cNvSpPr>
            <a:spLocks noGrp="1"/>
          </p:cNvSpPr>
          <p:nvPr>
            <p:custDataLst>
              <p:tags r:id="rId96"/>
            </p:custDataLst>
          </p:nvPr>
        </p:nvSpPr>
        <p:spPr bwMode="gray">
          <a:xfrm>
            <a:off x="8885238" y="3829050"/>
            <a:ext cx="492896" cy="183348"/>
          </a:xfrm>
          <a:prstGeom prst="rect">
            <a:avLst/>
          </a:prstGeom>
          <a:noFill/>
          <a:ln w="9525">
            <a:noFill/>
            <a:miter lim="800000"/>
            <a:headEnd/>
            <a:tailEnd/>
          </a:ln>
          <a:effectLst/>
          <a:extLst>
            <a:ext uri="{909E8E84-426E-40dd-AFC4-6F175D3DCCD1}">
              <a14:hiddenFill xmlns:a14="http://schemas.microsoft.com/office/drawing/2010/main" xmlns="">
                <a:solidFill>
                  <a:srgbClr val="DF430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5A04B7F3-6112-449A-BB40-F2CB2BBEBFB0}" type="datetime'''B''''''''''''''''''''''e''''''''i''''ji''''''''''ng'''''''''">
              <a:rPr lang="es-CO" altLang="en-US">
                <a:sym typeface="+mn-lt"/>
              </a:rPr>
              <a:pPr defTabSz="671464">
                <a:buClr>
                  <a:srgbClr val="002960"/>
                </a:buClr>
              </a:pPr>
              <a:t>Beijing</a:t>
            </a:fld>
            <a:endParaRPr lang="es-CO" altLang="en-US" dirty="0">
              <a:sym typeface="+mn-lt"/>
            </a:endParaRPr>
          </a:p>
        </p:txBody>
      </p:sp>
      <p:sp>
        <p:nvSpPr>
          <p:cNvPr id="98" name="Text Placeholder 95"/>
          <p:cNvSpPr>
            <a:spLocks noGrp="1"/>
          </p:cNvSpPr>
          <p:nvPr>
            <p:custDataLst>
              <p:tags r:id="rId97"/>
            </p:custDataLst>
          </p:nvPr>
        </p:nvSpPr>
        <p:spPr bwMode="gray">
          <a:xfrm>
            <a:off x="10063163" y="5246688"/>
            <a:ext cx="435749"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B8C35279-CC1A-4B85-AF5C-D3B420148196}" type="datetime'''''T''''o''''''k''''''''y''''''''''''''''''''''o'''">
              <a:rPr lang="es-CO" altLang="en-US">
                <a:solidFill>
                  <a:srgbClr val="000000"/>
                </a:solidFill>
                <a:sym typeface="+mn-lt"/>
              </a:rPr>
              <a:pPr defTabSz="671464">
                <a:buClr>
                  <a:srgbClr val="002960"/>
                </a:buClr>
              </a:pPr>
              <a:t>Tokyo</a:t>
            </a:fld>
            <a:endParaRPr lang="es-CO" altLang="en-US" dirty="0">
              <a:solidFill>
                <a:srgbClr val="000000"/>
              </a:solidFill>
              <a:sym typeface="+mn-lt"/>
            </a:endParaRPr>
          </a:p>
        </p:txBody>
      </p:sp>
      <p:sp>
        <p:nvSpPr>
          <p:cNvPr id="97" name="Text Placeholder 97"/>
          <p:cNvSpPr>
            <a:spLocks noGrp="1"/>
          </p:cNvSpPr>
          <p:nvPr>
            <p:custDataLst>
              <p:tags r:id="rId98"/>
            </p:custDataLst>
          </p:nvPr>
        </p:nvSpPr>
        <p:spPr bwMode="gray">
          <a:xfrm>
            <a:off x="5095875" y="3770313"/>
            <a:ext cx="542926" cy="1833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09E8E84-426E-40dd-AFC4-6F175D3DCCD1}">
              <a14:hiddenFill xmlns:a14="http://schemas.microsoft.com/office/drawing/2010/main" xmlns="">
                <a:solidFill>
                  <a:schemeClr val="folHlink"/>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200" baseline="0">
                <a:solidFill>
                  <a:schemeClr val="tx1"/>
                </a:solidFill>
                <a:latin typeface="+mn-lt"/>
                <a:ea typeface="+mn-ea"/>
                <a:cs typeface="+mn-cs"/>
              </a:defRPr>
            </a:lvl1pPr>
            <a:lvl2pPr marL="171450" indent="-169863" algn="l" defTabSz="895350"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290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514350" indent="-171450" algn="l" defTabSz="895350"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628650" indent="-114300" algn="l" defTabSz="895350"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671464">
              <a:buClr>
                <a:srgbClr val="002960"/>
              </a:buClr>
            </a:pPr>
            <a:fld id="{A0A112C6-43A6-4F6D-9F06-4BD74BE78738}" type="datetime'''L''''o''n''''''''''''''''''''''d''''o''n'''''''''''''">
              <a:rPr lang="es-CO" altLang="en-US">
                <a:solidFill>
                  <a:srgbClr val="000000"/>
                </a:solidFill>
                <a:sym typeface="+mn-lt"/>
              </a:rPr>
              <a:pPr defTabSz="671464">
                <a:buClr>
                  <a:srgbClr val="002960"/>
                </a:buClr>
              </a:pPr>
              <a:t>London</a:t>
            </a:fld>
            <a:endParaRPr lang="es-CO" altLang="en-US" dirty="0">
              <a:solidFill>
                <a:srgbClr val="000000"/>
              </a:solidFill>
              <a:sym typeface="+mn-lt"/>
            </a:endParaRPr>
          </a:p>
        </p:txBody>
      </p:sp>
      <p:sp>
        <p:nvSpPr>
          <p:cNvPr id="92" name="Text Placeholder 3"/>
          <p:cNvSpPr>
            <a:spLocks noGrp="1"/>
          </p:cNvSpPr>
          <p:nvPr>
            <p:custDataLst>
              <p:tags r:id="rId99"/>
            </p:custDataLst>
          </p:nvPr>
        </p:nvSpPr>
        <p:spPr bwMode="gray">
          <a:xfrm>
            <a:off x="5291138" y="5192713"/>
            <a:ext cx="384554" cy="183348"/>
          </a:xfrm>
          <a:prstGeom prst="rect">
            <a:avLst/>
          </a:prstGeom>
          <a:noFill/>
          <a:ln w="9525">
            <a:noFill/>
            <a:miter lim="800000"/>
            <a:headEnd/>
            <a:tailEnd/>
          </a:ln>
          <a:effectLst/>
          <a:extLst>
            <a:ext uri="{909E8E84-426E-40DD-AFC4-6F175D3DCCD1}">
              <a14:hiddenFill xmlns:a14="http://schemas.microsoft.com/office/drawing/2010/main">
                <a:solidFill>
                  <a:schemeClr val="folHlink"/>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9049" tIns="0" rIns="19049"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2"/>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2"/>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2"/>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2"/>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671464">
              <a:buClr>
                <a:srgbClr val="002960"/>
              </a:buClr>
            </a:pPr>
            <a:fld id="{D351FF91-0CDD-4C18-B715-4B5A909A1B20}" type="datetime'''P''''''''''ar''''''''''''''''''i''''''''''''''s'">
              <a:rPr lang="es-CO" altLang="en-US" sz="1200">
                <a:solidFill>
                  <a:schemeClr val="bg1"/>
                </a:solidFill>
                <a:ea typeface="+mn-ea"/>
                <a:cs typeface="+mn-cs"/>
                <a:sym typeface="+mn-lt"/>
              </a:rPr>
              <a:pPr algn="ctr" defTabSz="671464">
                <a:buClr>
                  <a:srgbClr val="002960"/>
                </a:buClr>
              </a:pPr>
              <a:t>Paris</a:t>
            </a:fld>
            <a:endParaRPr lang="es-CO" altLang="en-US" sz="1200" dirty="0">
              <a:solidFill>
                <a:schemeClr val="bg1"/>
              </a:solidFill>
              <a:ea typeface="+mn-ea"/>
              <a:cs typeface="+mn-cs"/>
              <a:sym typeface="+mn-lt"/>
            </a:endParaRPr>
          </a:p>
        </p:txBody>
      </p:sp>
    </p:spTree>
    <p:extLst>
      <p:ext uri="{BB962C8B-B14F-4D97-AF65-F5344CB8AC3E}">
        <p14:creationId xmlns:p14="http://schemas.microsoft.com/office/powerpoint/2010/main" val="3552657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375951040"/>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20894" name="think-cell Slide" r:id="rId6" imgW="353" imgH="353" progId="TCLayout.ActiveDocument.1">
                  <p:embed/>
                </p:oleObj>
              </mc:Choice>
              <mc:Fallback>
                <p:oleObj name="think-cell Slide" r:id="rId6" imgW="353" imgH="353" progId="TCLayout.ActiveDocument.1">
                  <p:embed/>
                  <p:pic>
                    <p:nvPicPr>
                      <p:cNvPr id="9" name="Object 8" hidden="1"/>
                      <p:cNvPicPr/>
                      <p:nvPr/>
                    </p:nvPicPr>
                    <p:blipFill>
                      <a:blip r:embed="rId7"/>
                      <a:stretch>
                        <a:fillRect/>
                      </a:stretch>
                    </p:blipFill>
                    <p:spPr>
                      <a:xfrm>
                        <a:off x="1495426" y="1589"/>
                        <a:ext cx="1586" cy="1586"/>
                      </a:xfrm>
                      <a:prstGeom prst="rect">
                        <a:avLst/>
                      </a:prstGeom>
                    </p:spPr>
                  </p:pic>
                </p:oleObj>
              </mc:Fallback>
            </mc:AlternateContent>
          </a:graphicData>
        </a:graphic>
      </p:graphicFrame>
      <p:pic>
        <p:nvPicPr>
          <p:cNvPr id="32" name="Picture 31"/>
          <p:cNvPicPr>
            <a:picLocks/>
          </p:cNvPicPr>
          <p:nvPr/>
        </p:nvPicPr>
        <p:blipFill rotWithShape="1">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657461" y="755165"/>
            <a:ext cx="11055927" cy="5092867"/>
          </a:xfrm>
          <a:prstGeom prst="rect">
            <a:avLst/>
          </a:prstGeom>
        </p:spPr>
      </p:pic>
      <p:sp>
        <p:nvSpPr>
          <p:cNvPr id="44" name="Rectangle 43"/>
          <p:cNvSpPr>
            <a:spLocks/>
          </p:cNvSpPr>
          <p:nvPr/>
        </p:nvSpPr>
        <p:spPr>
          <a:xfrm>
            <a:off x="657461" y="755165"/>
            <a:ext cx="11055927" cy="5092867"/>
          </a:xfrm>
          <a:prstGeom prst="rect">
            <a:avLst/>
          </a:prstGeom>
          <a:gradFill>
            <a:gsLst>
              <a:gs pos="49600">
                <a:schemeClr val="bg1">
                  <a:alpha val="62000"/>
                </a:schemeClr>
              </a:gs>
              <a:gs pos="0">
                <a:schemeClr val="bg1"/>
              </a:gs>
              <a:gs pos="100000">
                <a:schemeClr val="bg1"/>
              </a:gs>
            </a:gsLst>
            <a:lin ang="162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sz="1400">
              <a:solidFill>
                <a:schemeClr val="tx1"/>
              </a:solidFill>
            </a:endParaRPr>
          </a:p>
        </p:txBody>
      </p:sp>
      <p:sp>
        <p:nvSpPr>
          <p:cNvPr id="33" name="Rectangle 32">
            <a:extLst>
              <a:ext uri="{FF2B5EF4-FFF2-40B4-BE49-F238E27FC236}">
                <a16:creationId xmlns:a16="http://schemas.microsoft.com/office/drawing/2014/main" id="{DE1779EB-41B5-4716-A214-84924820B4E3}"/>
              </a:ext>
            </a:extLst>
          </p:cNvPr>
          <p:cNvSpPr>
            <a:spLocks/>
          </p:cNvSpPr>
          <p:nvPr/>
        </p:nvSpPr>
        <p:spPr>
          <a:xfrm>
            <a:off x="657461" y="755165"/>
            <a:ext cx="11055927" cy="5092867"/>
          </a:xfrm>
          <a:prstGeom prst="rect">
            <a:avLst/>
          </a:prstGeom>
          <a:gradFill>
            <a:gsLst>
              <a:gs pos="88000">
                <a:srgbClr val="FFFFFF">
                  <a:alpha val="0"/>
                </a:srgbClr>
              </a:gs>
              <a:gs pos="13000">
                <a:schemeClr val="bg1">
                  <a:alpha val="0"/>
                </a:schemeClr>
              </a:gs>
              <a:gs pos="0">
                <a:schemeClr val="bg1"/>
              </a:gs>
              <a:gs pos="100000">
                <a:schemeClr val="bg1"/>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sz="1400">
              <a:solidFill>
                <a:schemeClr val="tx1"/>
              </a:solidFill>
            </a:endParaRPr>
          </a:p>
        </p:txBody>
      </p:sp>
      <p:sp>
        <p:nvSpPr>
          <p:cNvPr id="2" name="Title 1"/>
          <p:cNvSpPr>
            <a:spLocks noGrp="1"/>
          </p:cNvSpPr>
          <p:nvPr>
            <p:ph type="title"/>
          </p:nvPr>
        </p:nvSpPr>
        <p:spPr>
          <a:xfrm>
            <a:off x="739140" y="353603"/>
            <a:ext cx="1040175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CO" dirty="0"/>
              <a:t>¿Por qué es importante la vivienda?</a:t>
            </a:r>
          </a:p>
        </p:txBody>
      </p:sp>
      <p:sp>
        <p:nvSpPr>
          <p:cNvPr id="27" name="Oval 3"/>
          <p:cNvSpPr/>
          <p:nvPr/>
        </p:nvSpPr>
        <p:spPr>
          <a:xfrm rot="2545530">
            <a:off x="2938161" y="1017945"/>
            <a:ext cx="2420129" cy="2906525"/>
          </a:xfrm>
          <a:custGeom>
            <a:avLst/>
            <a:gdLst/>
            <a:ahLst/>
            <a:cxnLst/>
            <a:rect l="l" t="t" r="r" b="b"/>
            <a:pathLst>
              <a:path w="2249714" h="2701862">
                <a:moveTo>
                  <a:pt x="1124857" y="110354"/>
                </a:moveTo>
                <a:cubicBezTo>
                  <a:pt x="977663" y="110354"/>
                  <a:pt x="858338" y="229679"/>
                  <a:pt x="858338" y="376873"/>
                </a:cubicBezTo>
                <a:cubicBezTo>
                  <a:pt x="858338" y="524067"/>
                  <a:pt x="977663" y="643392"/>
                  <a:pt x="1124857" y="643392"/>
                </a:cubicBezTo>
                <a:cubicBezTo>
                  <a:pt x="1272051" y="643392"/>
                  <a:pt x="1391376" y="524067"/>
                  <a:pt x="1391376" y="376873"/>
                </a:cubicBezTo>
                <a:cubicBezTo>
                  <a:pt x="1391376" y="229679"/>
                  <a:pt x="1272051" y="110354"/>
                  <a:pt x="1124857" y="110354"/>
                </a:cubicBezTo>
                <a:close/>
                <a:moveTo>
                  <a:pt x="1124857" y="0"/>
                </a:moveTo>
                <a:cubicBezTo>
                  <a:pt x="1327387" y="0"/>
                  <a:pt x="1497548" y="150813"/>
                  <a:pt x="1491570" y="366713"/>
                </a:cubicBezTo>
                <a:cubicBezTo>
                  <a:pt x="1487530" y="512632"/>
                  <a:pt x="1715109" y="432815"/>
                  <a:pt x="1874803" y="452438"/>
                </a:cubicBezTo>
                <a:cubicBezTo>
                  <a:pt x="2081861" y="452438"/>
                  <a:pt x="2249714" y="620291"/>
                  <a:pt x="2249714" y="827349"/>
                </a:cubicBezTo>
                <a:lnTo>
                  <a:pt x="2249714" y="2326951"/>
                </a:lnTo>
                <a:cubicBezTo>
                  <a:pt x="2249714" y="2534009"/>
                  <a:pt x="2081861" y="2701862"/>
                  <a:pt x="1874803" y="2701862"/>
                </a:cubicBezTo>
                <a:lnTo>
                  <a:pt x="1157502" y="2701862"/>
                </a:lnTo>
                <a:lnTo>
                  <a:pt x="1157502" y="1947601"/>
                </a:lnTo>
                <a:cubicBezTo>
                  <a:pt x="1157502" y="1740543"/>
                  <a:pt x="989649" y="1572690"/>
                  <a:pt x="782591" y="1572690"/>
                </a:cubicBezTo>
                <a:lnTo>
                  <a:pt x="0" y="1572690"/>
                </a:lnTo>
                <a:lnTo>
                  <a:pt x="0" y="827349"/>
                </a:lnTo>
                <a:cubicBezTo>
                  <a:pt x="0" y="620291"/>
                  <a:pt x="167853" y="452438"/>
                  <a:pt x="374911" y="452438"/>
                </a:cubicBezTo>
                <a:cubicBezTo>
                  <a:pt x="507418" y="452438"/>
                  <a:pt x="756606" y="483394"/>
                  <a:pt x="758144" y="366713"/>
                </a:cubicBezTo>
                <a:cubicBezTo>
                  <a:pt x="758144" y="164183"/>
                  <a:pt x="922327" y="0"/>
                  <a:pt x="1124857" y="0"/>
                </a:cubicBezTo>
                <a:close/>
              </a:path>
            </a:pathLst>
          </a:cu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400">
              <a:solidFill>
                <a:schemeClr val="tx1"/>
              </a:solidFill>
            </a:endParaRPr>
          </a:p>
        </p:txBody>
      </p:sp>
      <p:sp>
        <p:nvSpPr>
          <p:cNvPr id="29" name="Oval 3"/>
          <p:cNvSpPr/>
          <p:nvPr/>
        </p:nvSpPr>
        <p:spPr>
          <a:xfrm rot="13345530">
            <a:off x="984024" y="2805354"/>
            <a:ext cx="2420129" cy="2906525"/>
          </a:xfrm>
          <a:custGeom>
            <a:avLst/>
            <a:gdLst/>
            <a:ahLst/>
            <a:cxnLst/>
            <a:rect l="l" t="t" r="r" b="b"/>
            <a:pathLst>
              <a:path w="2249714" h="2701862">
                <a:moveTo>
                  <a:pt x="1124857" y="110354"/>
                </a:moveTo>
                <a:cubicBezTo>
                  <a:pt x="977663" y="110354"/>
                  <a:pt x="858338" y="229679"/>
                  <a:pt x="858338" y="376873"/>
                </a:cubicBezTo>
                <a:cubicBezTo>
                  <a:pt x="858338" y="524067"/>
                  <a:pt x="977663" y="643392"/>
                  <a:pt x="1124857" y="643392"/>
                </a:cubicBezTo>
                <a:cubicBezTo>
                  <a:pt x="1272051" y="643392"/>
                  <a:pt x="1391376" y="524067"/>
                  <a:pt x="1391376" y="376873"/>
                </a:cubicBezTo>
                <a:cubicBezTo>
                  <a:pt x="1391376" y="229679"/>
                  <a:pt x="1272051" y="110354"/>
                  <a:pt x="1124857" y="110354"/>
                </a:cubicBezTo>
                <a:close/>
                <a:moveTo>
                  <a:pt x="1124857" y="0"/>
                </a:moveTo>
                <a:cubicBezTo>
                  <a:pt x="1327387" y="0"/>
                  <a:pt x="1497548" y="150813"/>
                  <a:pt x="1491570" y="366713"/>
                </a:cubicBezTo>
                <a:cubicBezTo>
                  <a:pt x="1487530" y="512632"/>
                  <a:pt x="1715109" y="432815"/>
                  <a:pt x="1874803" y="452438"/>
                </a:cubicBezTo>
                <a:cubicBezTo>
                  <a:pt x="2081861" y="452438"/>
                  <a:pt x="2249714" y="620291"/>
                  <a:pt x="2249714" y="827349"/>
                </a:cubicBezTo>
                <a:lnTo>
                  <a:pt x="2249714" y="2326951"/>
                </a:lnTo>
                <a:cubicBezTo>
                  <a:pt x="2249714" y="2534009"/>
                  <a:pt x="2081861" y="2701862"/>
                  <a:pt x="1874803" y="2701862"/>
                </a:cubicBezTo>
                <a:lnTo>
                  <a:pt x="1157502" y="2701862"/>
                </a:lnTo>
                <a:lnTo>
                  <a:pt x="1157502" y="1947601"/>
                </a:lnTo>
                <a:cubicBezTo>
                  <a:pt x="1157502" y="1740543"/>
                  <a:pt x="989649" y="1572690"/>
                  <a:pt x="782591" y="1572690"/>
                </a:cubicBezTo>
                <a:lnTo>
                  <a:pt x="0" y="1572690"/>
                </a:lnTo>
                <a:lnTo>
                  <a:pt x="0" y="827349"/>
                </a:lnTo>
                <a:cubicBezTo>
                  <a:pt x="0" y="620291"/>
                  <a:pt x="167853" y="452438"/>
                  <a:pt x="374911" y="452438"/>
                </a:cubicBezTo>
                <a:cubicBezTo>
                  <a:pt x="507418" y="452438"/>
                  <a:pt x="756606" y="483394"/>
                  <a:pt x="758144" y="366713"/>
                </a:cubicBezTo>
                <a:cubicBezTo>
                  <a:pt x="758144" y="164183"/>
                  <a:pt x="922327" y="0"/>
                  <a:pt x="1124857" y="0"/>
                </a:cubicBezTo>
                <a:close/>
              </a:path>
            </a:pathLst>
          </a:cu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400">
              <a:solidFill>
                <a:schemeClr val="tx1"/>
              </a:solidFill>
            </a:endParaRPr>
          </a:p>
        </p:txBody>
      </p:sp>
      <p:sp>
        <p:nvSpPr>
          <p:cNvPr id="28" name="Oval 3"/>
          <p:cNvSpPr/>
          <p:nvPr/>
        </p:nvSpPr>
        <p:spPr>
          <a:xfrm rot="18745530" flipH="1" flipV="1">
            <a:off x="3058272" y="2685872"/>
            <a:ext cx="2420129" cy="2906527"/>
          </a:xfrm>
          <a:custGeom>
            <a:avLst/>
            <a:gdLst/>
            <a:ahLst/>
            <a:cxnLst/>
            <a:rect l="l" t="t" r="r" b="b"/>
            <a:pathLst>
              <a:path w="2249714" h="2701862">
                <a:moveTo>
                  <a:pt x="1124857" y="110354"/>
                </a:moveTo>
                <a:cubicBezTo>
                  <a:pt x="977663" y="110354"/>
                  <a:pt x="858338" y="229679"/>
                  <a:pt x="858338" y="376873"/>
                </a:cubicBezTo>
                <a:cubicBezTo>
                  <a:pt x="858338" y="524067"/>
                  <a:pt x="977663" y="643392"/>
                  <a:pt x="1124857" y="643392"/>
                </a:cubicBezTo>
                <a:cubicBezTo>
                  <a:pt x="1272051" y="643392"/>
                  <a:pt x="1391376" y="524067"/>
                  <a:pt x="1391376" y="376873"/>
                </a:cubicBezTo>
                <a:cubicBezTo>
                  <a:pt x="1391376" y="229679"/>
                  <a:pt x="1272051" y="110354"/>
                  <a:pt x="1124857" y="110354"/>
                </a:cubicBezTo>
                <a:close/>
                <a:moveTo>
                  <a:pt x="1124857" y="0"/>
                </a:moveTo>
                <a:cubicBezTo>
                  <a:pt x="1327387" y="0"/>
                  <a:pt x="1497548" y="150813"/>
                  <a:pt x="1491570" y="366713"/>
                </a:cubicBezTo>
                <a:cubicBezTo>
                  <a:pt x="1487530" y="512632"/>
                  <a:pt x="1715109" y="432815"/>
                  <a:pt x="1874803" y="452438"/>
                </a:cubicBezTo>
                <a:cubicBezTo>
                  <a:pt x="2081861" y="452438"/>
                  <a:pt x="2249714" y="620291"/>
                  <a:pt x="2249714" y="827349"/>
                </a:cubicBezTo>
                <a:lnTo>
                  <a:pt x="2249714" y="2326951"/>
                </a:lnTo>
                <a:cubicBezTo>
                  <a:pt x="2249714" y="2534009"/>
                  <a:pt x="2081861" y="2701862"/>
                  <a:pt x="1874803" y="2701862"/>
                </a:cubicBezTo>
                <a:lnTo>
                  <a:pt x="1157502" y="2701862"/>
                </a:lnTo>
                <a:lnTo>
                  <a:pt x="1157502" y="1947601"/>
                </a:lnTo>
                <a:cubicBezTo>
                  <a:pt x="1157502" y="1740543"/>
                  <a:pt x="989649" y="1572690"/>
                  <a:pt x="782591" y="1572690"/>
                </a:cubicBezTo>
                <a:lnTo>
                  <a:pt x="0" y="1572690"/>
                </a:lnTo>
                <a:lnTo>
                  <a:pt x="0" y="827349"/>
                </a:lnTo>
                <a:cubicBezTo>
                  <a:pt x="0" y="620291"/>
                  <a:pt x="167853" y="452438"/>
                  <a:pt x="374911" y="452438"/>
                </a:cubicBezTo>
                <a:cubicBezTo>
                  <a:pt x="507418" y="452438"/>
                  <a:pt x="756606" y="483394"/>
                  <a:pt x="758144" y="366713"/>
                </a:cubicBezTo>
                <a:cubicBezTo>
                  <a:pt x="758144" y="164183"/>
                  <a:pt x="922327" y="0"/>
                  <a:pt x="1124857" y="0"/>
                </a:cubicBezTo>
                <a:close/>
              </a:path>
            </a:pathLst>
          </a:cu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400" dirty="0">
              <a:solidFill>
                <a:schemeClr val="tx1"/>
              </a:solidFill>
            </a:endParaRPr>
          </a:p>
        </p:txBody>
      </p:sp>
      <p:sp>
        <p:nvSpPr>
          <p:cNvPr id="30" name="Oval 3"/>
          <p:cNvSpPr/>
          <p:nvPr/>
        </p:nvSpPr>
        <p:spPr>
          <a:xfrm rot="7945530" flipH="1" flipV="1">
            <a:off x="863912" y="1137432"/>
            <a:ext cx="2420129" cy="2906527"/>
          </a:xfrm>
          <a:custGeom>
            <a:avLst/>
            <a:gdLst/>
            <a:ahLst/>
            <a:cxnLst/>
            <a:rect l="l" t="t" r="r" b="b"/>
            <a:pathLst>
              <a:path w="2249714" h="2701862">
                <a:moveTo>
                  <a:pt x="1124857" y="110354"/>
                </a:moveTo>
                <a:cubicBezTo>
                  <a:pt x="977663" y="110354"/>
                  <a:pt x="858338" y="229679"/>
                  <a:pt x="858338" y="376873"/>
                </a:cubicBezTo>
                <a:cubicBezTo>
                  <a:pt x="858338" y="524067"/>
                  <a:pt x="977663" y="643392"/>
                  <a:pt x="1124857" y="643392"/>
                </a:cubicBezTo>
                <a:cubicBezTo>
                  <a:pt x="1272051" y="643392"/>
                  <a:pt x="1391376" y="524067"/>
                  <a:pt x="1391376" y="376873"/>
                </a:cubicBezTo>
                <a:cubicBezTo>
                  <a:pt x="1391376" y="229679"/>
                  <a:pt x="1272051" y="110354"/>
                  <a:pt x="1124857" y="110354"/>
                </a:cubicBezTo>
                <a:close/>
                <a:moveTo>
                  <a:pt x="1124857" y="0"/>
                </a:moveTo>
                <a:cubicBezTo>
                  <a:pt x="1327387" y="0"/>
                  <a:pt x="1497548" y="150813"/>
                  <a:pt x="1491570" y="366713"/>
                </a:cubicBezTo>
                <a:cubicBezTo>
                  <a:pt x="1487530" y="512632"/>
                  <a:pt x="1715109" y="432815"/>
                  <a:pt x="1874803" y="452438"/>
                </a:cubicBezTo>
                <a:cubicBezTo>
                  <a:pt x="2081861" y="452438"/>
                  <a:pt x="2249714" y="620291"/>
                  <a:pt x="2249714" y="827349"/>
                </a:cubicBezTo>
                <a:lnTo>
                  <a:pt x="2249714" y="2326951"/>
                </a:lnTo>
                <a:cubicBezTo>
                  <a:pt x="2249714" y="2534009"/>
                  <a:pt x="2081861" y="2701862"/>
                  <a:pt x="1874803" y="2701862"/>
                </a:cubicBezTo>
                <a:lnTo>
                  <a:pt x="1157502" y="2701862"/>
                </a:lnTo>
                <a:lnTo>
                  <a:pt x="1157502" y="1947601"/>
                </a:lnTo>
                <a:cubicBezTo>
                  <a:pt x="1157502" y="1740543"/>
                  <a:pt x="989649" y="1572690"/>
                  <a:pt x="782591" y="1572690"/>
                </a:cubicBezTo>
                <a:lnTo>
                  <a:pt x="0" y="1572690"/>
                </a:lnTo>
                <a:lnTo>
                  <a:pt x="0" y="827349"/>
                </a:lnTo>
                <a:cubicBezTo>
                  <a:pt x="0" y="620291"/>
                  <a:pt x="167853" y="452438"/>
                  <a:pt x="374911" y="452438"/>
                </a:cubicBezTo>
                <a:cubicBezTo>
                  <a:pt x="507418" y="452438"/>
                  <a:pt x="756606" y="483394"/>
                  <a:pt x="758144" y="366713"/>
                </a:cubicBezTo>
                <a:cubicBezTo>
                  <a:pt x="758144" y="164183"/>
                  <a:pt x="922327" y="0"/>
                  <a:pt x="1124857" y="0"/>
                </a:cubicBezTo>
                <a:close/>
              </a:path>
            </a:pathLst>
          </a:cu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400">
              <a:solidFill>
                <a:schemeClr val="tx1"/>
              </a:solidFill>
            </a:endParaRPr>
          </a:p>
        </p:txBody>
      </p:sp>
      <p:sp>
        <p:nvSpPr>
          <p:cNvPr id="35" name="Rectangle 2"/>
          <p:cNvSpPr txBox="1"/>
          <p:nvPr/>
        </p:nvSpPr>
        <p:spPr>
          <a:xfrm>
            <a:off x="1138301" y="1682787"/>
            <a:ext cx="303625" cy="32736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a:solidFill>
                  <a:schemeClr val="accent2"/>
                </a:solidFill>
              </a:rPr>
              <a:t>01</a:t>
            </a:r>
          </a:p>
        </p:txBody>
      </p:sp>
      <p:sp>
        <p:nvSpPr>
          <p:cNvPr id="36" name="Rectangle 2"/>
          <p:cNvSpPr txBox="1"/>
          <p:nvPr/>
        </p:nvSpPr>
        <p:spPr>
          <a:xfrm>
            <a:off x="4690373" y="1483177"/>
            <a:ext cx="303625" cy="32736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a:solidFill>
                  <a:schemeClr val="accent3"/>
                </a:solidFill>
              </a:rPr>
              <a:t>02</a:t>
            </a:r>
          </a:p>
        </p:txBody>
      </p:sp>
      <p:sp>
        <p:nvSpPr>
          <p:cNvPr id="37" name="Rectangle 2"/>
          <p:cNvSpPr txBox="1"/>
          <p:nvPr/>
        </p:nvSpPr>
        <p:spPr>
          <a:xfrm>
            <a:off x="4871487" y="4645840"/>
            <a:ext cx="303625" cy="32736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a:solidFill>
                  <a:schemeClr val="accent4"/>
                </a:solidFill>
              </a:rPr>
              <a:t>03</a:t>
            </a:r>
          </a:p>
        </p:txBody>
      </p:sp>
      <p:sp>
        <p:nvSpPr>
          <p:cNvPr id="38" name="Rectangle 2"/>
          <p:cNvSpPr txBox="1"/>
          <p:nvPr/>
        </p:nvSpPr>
        <p:spPr>
          <a:xfrm>
            <a:off x="1317407" y="4832742"/>
            <a:ext cx="303625" cy="32736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dirty="0">
                <a:solidFill>
                  <a:schemeClr val="accent5"/>
                </a:solidFill>
              </a:rPr>
              <a:t>04</a:t>
            </a:r>
          </a:p>
        </p:txBody>
      </p:sp>
      <p:sp>
        <p:nvSpPr>
          <p:cNvPr id="41" name="Rectangle 286"/>
          <p:cNvSpPr txBox="1">
            <a:spLocks noChangeArrowheads="1"/>
          </p:cNvSpPr>
          <p:nvPr/>
        </p:nvSpPr>
        <p:spPr bwMode="auto">
          <a:xfrm>
            <a:off x="1447124" y="1898383"/>
            <a:ext cx="1727928" cy="340055"/>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Aft>
                <a:spcPts val="450"/>
              </a:spcAft>
              <a:buClrTx/>
            </a:pPr>
            <a:r>
              <a:rPr lang="es-CO" sz="1400" b="1">
                <a:solidFill>
                  <a:schemeClr val="bg1"/>
                </a:solidFill>
              </a:rPr>
              <a:t>Una de las necesidades básicas universales</a:t>
            </a:r>
          </a:p>
        </p:txBody>
      </p:sp>
      <p:sp>
        <p:nvSpPr>
          <p:cNvPr id="53" name="Rectangle 286"/>
          <p:cNvSpPr txBox="1">
            <a:spLocks noChangeArrowheads="1"/>
          </p:cNvSpPr>
          <p:nvPr/>
        </p:nvSpPr>
        <p:spPr bwMode="auto">
          <a:xfrm>
            <a:off x="1286434" y="3738632"/>
            <a:ext cx="1156723" cy="917015"/>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indent="0" defTabSz="895350" eaLnBrk="1" hangingPunct="1">
              <a:spcAft>
                <a:spcPts val="450"/>
              </a:spcAft>
              <a:buClrTx/>
              <a:defRPr sz="130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r>
              <a:rPr lang="es-CO" sz="1400" dirty="0"/>
              <a:t>Plataforma para la prosperidad social</a:t>
            </a:r>
          </a:p>
        </p:txBody>
      </p:sp>
      <p:sp>
        <p:nvSpPr>
          <p:cNvPr id="54" name="Rectangle 286"/>
          <p:cNvSpPr txBox="1">
            <a:spLocks noChangeArrowheads="1"/>
          </p:cNvSpPr>
          <p:nvPr/>
        </p:nvSpPr>
        <p:spPr bwMode="auto">
          <a:xfrm>
            <a:off x="3256800" y="3938953"/>
            <a:ext cx="1730839" cy="687762"/>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indent="0" defTabSz="895350" eaLnBrk="1" hangingPunct="1">
              <a:spcAft>
                <a:spcPts val="450"/>
              </a:spcAft>
              <a:buClrTx/>
              <a:defRPr sz="130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r>
              <a:rPr lang="es-CO" sz="1400"/>
              <a:t>Driver de crecimiento económico</a:t>
            </a:r>
          </a:p>
        </p:txBody>
      </p:sp>
      <p:sp>
        <p:nvSpPr>
          <p:cNvPr id="42" name="Rectangle 286"/>
          <p:cNvSpPr txBox="1">
            <a:spLocks noChangeArrowheads="1"/>
          </p:cNvSpPr>
          <p:nvPr/>
        </p:nvSpPr>
        <p:spPr bwMode="auto">
          <a:xfrm>
            <a:off x="3890126" y="2157299"/>
            <a:ext cx="1276742" cy="1146269"/>
          </a:xfrm>
          <a:prstGeom prst="rect">
            <a:avLst/>
          </a:prstGeom>
          <a:no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indent="0" defTabSz="895350" eaLnBrk="1" hangingPunct="1">
              <a:spcAft>
                <a:spcPts val="450"/>
              </a:spcAft>
              <a:buClrTx/>
              <a:defRPr sz="1300" b="1">
                <a:solidFill>
                  <a:schemeClr val="bg1"/>
                </a:solidFill>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a:r>
              <a:rPr lang="es-CO" sz="1400"/>
              <a:t>Parte fundamental de la identidad individual</a:t>
            </a:r>
          </a:p>
        </p:txBody>
      </p:sp>
      <p:sp>
        <p:nvSpPr>
          <p:cNvPr id="47" name="4. Footnote"/>
          <p:cNvSpPr txBox="1">
            <a:spLocks noChangeArrowheads="1"/>
          </p:cNvSpPr>
          <p:nvPr>
            <p:custDataLst>
              <p:tags r:id="rId3"/>
            </p:custDataLst>
          </p:nvPr>
        </p:nvSpPr>
        <p:spPr bwMode="auto">
          <a:xfrm>
            <a:off x="589449" y="6183549"/>
            <a:ext cx="8548686"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s-CO" sz="800" dirty="0">
                <a:solidFill>
                  <a:schemeClr val="accent6"/>
                </a:solidFill>
                <a:latin typeface="Arial" panose="020B0604020202020204" pitchFamily="34" charset="0"/>
              </a:rPr>
              <a:t>1 Teoría del entorno físico y social por </a:t>
            </a:r>
            <a:r>
              <a:rPr lang="es-CO" sz="800" dirty="0" err="1">
                <a:solidFill>
                  <a:schemeClr val="accent6"/>
                </a:solidFill>
                <a:latin typeface="Arial" panose="020B0604020202020204" pitchFamily="34" charset="0"/>
              </a:rPr>
              <a:t>Proshansky</a:t>
            </a:r>
            <a:r>
              <a:rPr lang="es-CO" sz="800" dirty="0">
                <a:solidFill>
                  <a:schemeClr val="accent6"/>
                </a:solidFill>
                <a:latin typeface="Arial" panose="020B0604020202020204" pitchFamily="34" charset="0"/>
              </a:rPr>
              <a:t>, Fabian y </a:t>
            </a:r>
            <a:r>
              <a:rPr lang="es-CO" sz="800" dirty="0" err="1">
                <a:solidFill>
                  <a:schemeClr val="accent6"/>
                </a:solidFill>
                <a:latin typeface="Arial" panose="020B0604020202020204" pitchFamily="34" charset="0"/>
              </a:rPr>
              <a:t>Karminoff</a:t>
            </a:r>
            <a:r>
              <a:rPr lang="es-CO" sz="800" dirty="0">
                <a:solidFill>
                  <a:schemeClr val="accent6"/>
                </a:solidFill>
                <a:latin typeface="Arial" panose="020B0604020202020204" pitchFamily="34" charset="0"/>
              </a:rPr>
              <a:t> (83)</a:t>
            </a:r>
          </a:p>
          <a:p>
            <a:r>
              <a:rPr lang="es-CO" sz="800" dirty="0">
                <a:solidFill>
                  <a:schemeClr val="accent6"/>
                </a:solidFill>
                <a:latin typeface="Arial" panose="020B0604020202020204" pitchFamily="34" charset="0"/>
              </a:rPr>
              <a:t>2 Coalición Nacional de Vivienda de Bajos Ingresos: cómo la vivienda afecta los resultados de salud, educación y empleo</a:t>
            </a:r>
          </a:p>
        </p:txBody>
      </p:sp>
      <p:sp>
        <p:nvSpPr>
          <p:cNvPr id="5" name="Rectangle 4">
            <a:extLst>
              <a:ext uri="{FF2B5EF4-FFF2-40B4-BE49-F238E27FC236}">
                <a16:creationId xmlns:a16="http://schemas.microsoft.com/office/drawing/2014/main" id="{759A76ED-02E3-4CE3-B7B0-AFC53BEA26BB}"/>
              </a:ext>
            </a:extLst>
          </p:cNvPr>
          <p:cNvSpPr/>
          <p:nvPr/>
        </p:nvSpPr>
        <p:spPr>
          <a:xfrm>
            <a:off x="5683252" y="1112388"/>
            <a:ext cx="6030136" cy="4620502"/>
          </a:xfrm>
          <a:prstGeom prst="rect">
            <a:avLst/>
          </a:prstGeom>
          <a:solidFill>
            <a:schemeClr val="bg1">
              <a:lumMod val="95000"/>
              <a:alpha val="5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err="1">
              <a:solidFill>
                <a:schemeClr val="tx1"/>
              </a:solidFill>
            </a:endParaRPr>
          </a:p>
        </p:txBody>
      </p:sp>
      <p:sp>
        <p:nvSpPr>
          <p:cNvPr id="62" name="Rectangle 2"/>
          <p:cNvSpPr txBox="1">
            <a:spLocks/>
          </p:cNvSpPr>
          <p:nvPr/>
        </p:nvSpPr>
        <p:spPr>
          <a:xfrm>
            <a:off x="5890295" y="2457169"/>
            <a:ext cx="285335" cy="3076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a:solidFill>
                  <a:schemeClr val="accent3"/>
                </a:solidFill>
              </a:rPr>
              <a:t>02</a:t>
            </a:r>
          </a:p>
        </p:txBody>
      </p:sp>
      <p:sp>
        <p:nvSpPr>
          <p:cNvPr id="67" name="TextBox 66"/>
          <p:cNvSpPr txBox="1">
            <a:spLocks/>
          </p:cNvSpPr>
          <p:nvPr/>
        </p:nvSpPr>
        <p:spPr>
          <a:xfrm>
            <a:off x="6358861" y="2520425"/>
            <a:ext cx="5305572"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301"/>
              </a:spcAft>
            </a:pPr>
            <a:r>
              <a:rPr lang="es-CO" dirty="0"/>
              <a:t>“Las personas definen </a:t>
            </a:r>
            <a:r>
              <a:rPr lang="es-CO" b="1" dirty="0">
                <a:solidFill>
                  <a:schemeClr val="accent3"/>
                </a:solidFill>
              </a:rPr>
              <a:t>quiénes y qué son </a:t>
            </a:r>
            <a:r>
              <a:rPr lang="es-CO" dirty="0"/>
              <a:t>en términos de </a:t>
            </a:r>
            <a:r>
              <a:rPr lang="es-CO" b="1" dirty="0">
                <a:solidFill>
                  <a:schemeClr val="accent3"/>
                </a:solidFill>
              </a:rPr>
              <a:t>vínculos afectivos con la casa y el hogar</a:t>
            </a:r>
            <a:r>
              <a:rPr lang="es-CO" dirty="0"/>
              <a:t> y/o el vecindario y la comunidad” </a:t>
            </a:r>
            <a:r>
              <a:rPr lang="es-CO" baseline="30000" dirty="0"/>
              <a:t>1</a:t>
            </a:r>
            <a:r>
              <a:rPr lang="es-CO" dirty="0"/>
              <a:t> </a:t>
            </a:r>
          </a:p>
        </p:txBody>
      </p:sp>
      <p:sp>
        <p:nvSpPr>
          <p:cNvPr id="64" name="Rectangle 2"/>
          <p:cNvSpPr txBox="1">
            <a:spLocks/>
          </p:cNvSpPr>
          <p:nvPr/>
        </p:nvSpPr>
        <p:spPr>
          <a:xfrm>
            <a:off x="5890295" y="3662862"/>
            <a:ext cx="285335" cy="3076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a:solidFill>
                  <a:schemeClr val="accent4"/>
                </a:solidFill>
              </a:rPr>
              <a:t>03</a:t>
            </a:r>
          </a:p>
        </p:txBody>
      </p:sp>
      <p:sp>
        <p:nvSpPr>
          <p:cNvPr id="68" name="TextBox 67"/>
          <p:cNvSpPr txBox="1">
            <a:spLocks/>
          </p:cNvSpPr>
          <p:nvPr/>
        </p:nvSpPr>
        <p:spPr>
          <a:xfrm>
            <a:off x="6358861" y="3694490"/>
            <a:ext cx="5305572"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301"/>
              </a:spcAft>
            </a:pPr>
            <a:r>
              <a:rPr lang="es-CO" dirty="0"/>
              <a:t>Varios estudios</a:t>
            </a:r>
            <a:r>
              <a:rPr lang="es-CO" baseline="30000" dirty="0"/>
              <a:t>2</a:t>
            </a:r>
            <a:r>
              <a:rPr lang="es-CO" dirty="0"/>
              <a:t> han demostrado que </a:t>
            </a:r>
            <a:r>
              <a:rPr lang="es-CO" b="1" dirty="0">
                <a:solidFill>
                  <a:schemeClr val="accent4"/>
                </a:solidFill>
              </a:rPr>
              <a:t>la vivienda de mala calidad afecta negativamente los resultados de salud, educación y empleo </a:t>
            </a:r>
          </a:p>
        </p:txBody>
      </p:sp>
      <p:sp>
        <p:nvSpPr>
          <p:cNvPr id="55" name="Rectangle 2"/>
          <p:cNvSpPr txBox="1">
            <a:spLocks/>
          </p:cNvSpPr>
          <p:nvPr/>
        </p:nvSpPr>
        <p:spPr>
          <a:xfrm>
            <a:off x="5890295" y="1346360"/>
            <a:ext cx="285335" cy="3076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dirty="0">
                <a:solidFill>
                  <a:schemeClr val="accent2"/>
                </a:solidFill>
              </a:rPr>
              <a:t>01</a:t>
            </a:r>
          </a:p>
        </p:txBody>
      </p:sp>
      <p:sp>
        <p:nvSpPr>
          <p:cNvPr id="66" name="TextBox 65"/>
          <p:cNvSpPr txBox="1">
            <a:spLocks/>
          </p:cNvSpPr>
          <p:nvPr/>
        </p:nvSpPr>
        <p:spPr>
          <a:xfrm>
            <a:off x="6358861" y="1346360"/>
            <a:ext cx="5305572"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301"/>
              </a:spcAft>
            </a:pPr>
            <a:r>
              <a:rPr lang="es-CO" dirty="0"/>
              <a:t>La vivienda adecuada es reconocida universalmente como </a:t>
            </a:r>
            <a:r>
              <a:rPr lang="es-CO" b="1" dirty="0">
                <a:solidFill>
                  <a:schemeClr val="accent2"/>
                </a:solidFill>
              </a:rPr>
              <a:t>una de las necesidades básicas fundamentales</a:t>
            </a:r>
            <a:r>
              <a:rPr lang="es-CO" dirty="0"/>
              <a:t> y, a menudo, reconocida también como </a:t>
            </a:r>
            <a:r>
              <a:rPr lang="es-CO" b="1" dirty="0">
                <a:solidFill>
                  <a:schemeClr val="accent2"/>
                </a:solidFill>
              </a:rPr>
              <a:t>uno de los derechos fundamentales</a:t>
            </a:r>
          </a:p>
        </p:txBody>
      </p:sp>
      <p:sp>
        <p:nvSpPr>
          <p:cNvPr id="65" name="Rectangle 2"/>
          <p:cNvSpPr txBox="1">
            <a:spLocks/>
          </p:cNvSpPr>
          <p:nvPr/>
        </p:nvSpPr>
        <p:spPr>
          <a:xfrm>
            <a:off x="5890295" y="4868555"/>
            <a:ext cx="285335" cy="30764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b="1">
                <a:solidFill>
                  <a:schemeClr val="accent5"/>
                </a:solidFill>
              </a:rPr>
              <a:t>04</a:t>
            </a:r>
          </a:p>
        </p:txBody>
      </p:sp>
      <p:sp>
        <p:nvSpPr>
          <p:cNvPr id="71" name="TextBox 70"/>
          <p:cNvSpPr txBox="1">
            <a:spLocks/>
          </p:cNvSpPr>
          <p:nvPr/>
        </p:nvSpPr>
        <p:spPr>
          <a:xfrm>
            <a:off x="6358861" y="4868553"/>
            <a:ext cx="5305572" cy="64633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0"/>
              </a:spcBef>
              <a:spcAft>
                <a:spcPts val="301"/>
              </a:spcAft>
            </a:pPr>
            <a:r>
              <a:rPr lang="es-CO" dirty="0"/>
              <a:t>Los programas de vivienda asequible en todo el mundo han contribuido significativamente a </a:t>
            </a:r>
            <a:r>
              <a:rPr lang="es-CO" b="1" dirty="0">
                <a:solidFill>
                  <a:schemeClr val="accent5"/>
                </a:solidFill>
              </a:rPr>
              <a:t>sostener la economía</a:t>
            </a:r>
            <a:r>
              <a:rPr lang="es-CO" dirty="0"/>
              <a:t> en tiempos de recesión</a:t>
            </a:r>
          </a:p>
        </p:txBody>
      </p:sp>
      <p:grpSp>
        <p:nvGrpSpPr>
          <p:cNvPr id="4" name="Group 3">
            <a:extLst>
              <a:ext uri="{FF2B5EF4-FFF2-40B4-BE49-F238E27FC236}">
                <a16:creationId xmlns:a16="http://schemas.microsoft.com/office/drawing/2014/main" id="{9C928AE6-9A75-40F6-A15F-A9F46BBA055D}"/>
              </a:ext>
            </a:extLst>
          </p:cNvPr>
          <p:cNvGrpSpPr/>
          <p:nvPr/>
        </p:nvGrpSpPr>
        <p:grpSpPr>
          <a:xfrm>
            <a:off x="5821189" y="2256558"/>
            <a:ext cx="5731926" cy="2348130"/>
            <a:chOff x="5858620" y="2022586"/>
            <a:chExt cx="3846771" cy="2348130"/>
          </a:xfrm>
        </p:grpSpPr>
        <p:cxnSp>
          <p:nvCxnSpPr>
            <p:cNvPr id="72" name="Straight Connector 71"/>
            <p:cNvCxnSpPr>
              <a:cxnSpLocks/>
            </p:cNvCxnSpPr>
            <p:nvPr/>
          </p:nvCxnSpPr>
          <p:spPr>
            <a:xfrm>
              <a:off x="5858620" y="2022586"/>
              <a:ext cx="3846771"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5858620" y="3196651"/>
              <a:ext cx="3846771"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5858620" y="4370716"/>
              <a:ext cx="3846771"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4727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88732328"/>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22942"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495426" y="1589"/>
                        <a:ext cx="1586" cy="1586"/>
                      </a:xfrm>
                      <a:prstGeom prst="rect">
                        <a:avLst/>
                      </a:prstGeom>
                    </p:spPr>
                  </p:pic>
                </p:oleObj>
              </mc:Fallback>
            </mc:AlternateContent>
          </a:graphicData>
        </a:graphic>
      </p:graphicFrame>
      <p:pic>
        <p:nvPicPr>
          <p:cNvPr id="289845" name="Picture 53" descr="https://mm.gettyimages.com/api/1.0/owners/249873912/assets/317070675/thumbnails/master/vn?signature=6d0921707d1d9b5f27d1dcb02babe958"/>
          <p:cNvPicPr>
            <a:picLocks noChangeArrowheads="1"/>
          </p:cNvPicPr>
          <p:nvPr/>
        </p:nvPicPr>
        <p:blipFill rotWithShape="1">
          <a:blip r:embed="rId9" cstate="email">
            <a:extLst>
              <a:ext uri="{28A0092B-C50C-407E-A947-70E740481C1C}">
                <a14:useLocalDpi xmlns:a14="http://schemas.microsoft.com/office/drawing/2010/main"/>
              </a:ext>
            </a:extLst>
          </a:blip>
          <a:srcRect t="31866" b="9576"/>
          <a:stretch/>
        </p:blipFill>
        <p:spPr bwMode="auto">
          <a:xfrm>
            <a:off x="628153" y="909693"/>
            <a:ext cx="11092070" cy="1874235"/>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p:cNvSpPr>
            <a:spLocks/>
          </p:cNvSpPr>
          <p:nvPr/>
        </p:nvSpPr>
        <p:spPr>
          <a:xfrm>
            <a:off x="628153" y="909693"/>
            <a:ext cx="11092070" cy="1874235"/>
          </a:xfrm>
          <a:prstGeom prst="rect">
            <a:avLst/>
          </a:prstGeom>
          <a:gradFill>
            <a:gsLst>
              <a:gs pos="60000">
                <a:schemeClr val="tx1">
                  <a:alpha val="0"/>
                </a:schemeClr>
              </a:gs>
              <a:gs pos="99000">
                <a:schemeClr val="tx1">
                  <a:alpha val="72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dirty="0">
              <a:solidFill>
                <a:schemeClr val="tx1"/>
              </a:solidFill>
            </a:endParaRPr>
          </a:p>
        </p:txBody>
      </p:sp>
      <p:sp>
        <p:nvSpPr>
          <p:cNvPr id="2" name="Title 1"/>
          <p:cNvSpPr>
            <a:spLocks noGrp="1"/>
          </p:cNvSpPr>
          <p:nvPr>
            <p:ph type="title"/>
          </p:nvPr>
        </p:nvSpPr>
        <p:spPr>
          <a:xfrm>
            <a:off x="739140" y="353603"/>
            <a:ext cx="10401755"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CO" dirty="0"/>
              <a:t>¿Cuál es la escala del desafío a nivel global?</a:t>
            </a:r>
          </a:p>
        </p:txBody>
      </p:sp>
      <p:grpSp>
        <p:nvGrpSpPr>
          <p:cNvPr id="100" name="Group 99"/>
          <p:cNvGrpSpPr>
            <a:grpSpLocks/>
          </p:cNvGrpSpPr>
          <p:nvPr/>
        </p:nvGrpSpPr>
        <p:grpSpPr>
          <a:xfrm>
            <a:off x="3430639" y="3182774"/>
            <a:ext cx="1285684" cy="1285680"/>
            <a:chOff x="2938132" y="4430232"/>
            <a:chExt cx="1154095" cy="1154091"/>
          </a:xfrm>
        </p:grpSpPr>
        <p:sp>
          <p:nvSpPr>
            <p:cNvPr id="106" name="Oval 109"/>
            <p:cNvSpPr>
              <a:spLocks noChangeArrowheads="1"/>
            </p:cNvSpPr>
            <p:nvPr>
              <p:custDataLst>
                <p:tags r:id="rId4"/>
              </p:custDataLst>
            </p:nvPr>
          </p:nvSpPr>
          <p:spPr bwMode="gray">
            <a:xfrm>
              <a:off x="2938132" y="4430232"/>
              <a:ext cx="1154095" cy="1154091"/>
            </a:xfrm>
            <a:prstGeom prst="ellipse">
              <a:avLst/>
            </a:prstGeom>
            <a:solidFill>
              <a:schemeClr val="accent3"/>
            </a:solidFill>
            <a:ln>
              <a:noFill/>
            </a:ln>
            <a:effectLst/>
            <a:extLst>
              <a:ext uri="{91240B29-F687-4f45-9708-019B960494DF}">
                <a14:hiddenLine xmlns:a14="http://schemas.microsoft.com/office/drawing/2010/main" xmlns="" w="9525" algn="ctr">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noAutofit/>
            </a:bodyPr>
            <a:lstStyle/>
            <a:p>
              <a:pPr defTabSz="895285">
                <a:buClr>
                  <a:schemeClr val="tx2"/>
                </a:buClr>
              </a:pPr>
              <a:endParaRPr lang="es-CO" sz="1400" dirty="0">
                <a:solidFill>
                  <a:schemeClr val="bg1"/>
                </a:solidFill>
                <a:latin typeface="+mn-lt"/>
              </a:endParaRPr>
            </a:p>
          </p:txBody>
        </p:sp>
        <p:sp>
          <p:nvSpPr>
            <p:cNvPr id="107" name="Freeform 10"/>
            <p:cNvSpPr>
              <a:spLocks noEditPoints="1"/>
            </p:cNvSpPr>
            <p:nvPr/>
          </p:nvSpPr>
          <p:spPr bwMode="auto">
            <a:xfrm>
              <a:off x="3109557" y="4661301"/>
              <a:ext cx="811244" cy="672698"/>
            </a:xfrm>
            <a:custGeom>
              <a:avLst/>
              <a:gdLst>
                <a:gd name="T0" fmla="*/ 37 w 3040"/>
                <a:gd name="T1" fmla="*/ 2307 h 2520"/>
                <a:gd name="T2" fmla="*/ 3004 w 3040"/>
                <a:gd name="T3" fmla="*/ 2307 h 2520"/>
                <a:gd name="T4" fmla="*/ 3004 w 3040"/>
                <a:gd name="T5" fmla="*/ 2520 h 2520"/>
                <a:gd name="T6" fmla="*/ 37 w 3040"/>
                <a:gd name="T7" fmla="*/ 2520 h 2520"/>
                <a:gd name="T8" fmla="*/ 413 w 3040"/>
                <a:gd name="T9" fmla="*/ 1730 h 2520"/>
                <a:gd name="T10" fmla="*/ 397 w 3040"/>
                <a:gd name="T11" fmla="*/ 1294 h 2520"/>
                <a:gd name="T12" fmla="*/ 87 w 3040"/>
                <a:gd name="T13" fmla="*/ 1032 h 2520"/>
                <a:gd name="T14" fmla="*/ 1021 w 3040"/>
                <a:gd name="T15" fmla="*/ 454 h 2520"/>
                <a:gd name="T16" fmla="*/ 996 w 3040"/>
                <a:gd name="T17" fmla="*/ 618 h 2520"/>
                <a:gd name="T18" fmla="*/ 1004 w 3040"/>
                <a:gd name="T19" fmla="*/ 760 h 2520"/>
                <a:gd name="T20" fmla="*/ 932 w 3040"/>
                <a:gd name="T21" fmla="*/ 911 h 2520"/>
                <a:gd name="T22" fmla="*/ 617 w 3040"/>
                <a:gd name="T23" fmla="*/ 2145 h 2520"/>
                <a:gd name="T24" fmla="*/ 624 w 3040"/>
                <a:gd name="T25" fmla="*/ 2225 h 2520"/>
                <a:gd name="T26" fmla="*/ 413 w 3040"/>
                <a:gd name="T27" fmla="*/ 1730 h 2520"/>
                <a:gd name="T28" fmla="*/ 1126 w 3040"/>
                <a:gd name="T29" fmla="*/ 1998 h 2520"/>
                <a:gd name="T30" fmla="*/ 1314 w 3040"/>
                <a:gd name="T31" fmla="*/ 1849 h 2520"/>
                <a:gd name="T32" fmla="*/ 1491 w 3040"/>
                <a:gd name="T33" fmla="*/ 1534 h 2520"/>
                <a:gd name="T34" fmla="*/ 1663 w 3040"/>
                <a:gd name="T35" fmla="*/ 1384 h 2520"/>
                <a:gd name="T36" fmla="*/ 1804 w 3040"/>
                <a:gd name="T37" fmla="*/ 1076 h 2520"/>
                <a:gd name="T38" fmla="*/ 1758 w 3040"/>
                <a:gd name="T39" fmla="*/ 1733 h 2520"/>
                <a:gd name="T40" fmla="*/ 1644 w 3040"/>
                <a:gd name="T41" fmla="*/ 1770 h 2520"/>
                <a:gd name="T42" fmla="*/ 1627 w 3040"/>
                <a:gd name="T43" fmla="*/ 2147 h 2520"/>
                <a:gd name="T44" fmla="*/ 1406 w 3040"/>
                <a:gd name="T45" fmla="*/ 2147 h 2520"/>
                <a:gd name="T46" fmla="*/ 1389 w 3040"/>
                <a:gd name="T47" fmla="*/ 2227 h 2520"/>
                <a:gd name="T48" fmla="*/ 1037 w 3040"/>
                <a:gd name="T49" fmla="*/ 2204 h 2520"/>
                <a:gd name="T50" fmla="*/ 2381 w 3040"/>
                <a:gd name="T51" fmla="*/ 1513 h 2520"/>
                <a:gd name="T52" fmla="*/ 1572 w 3040"/>
                <a:gd name="T53" fmla="*/ 613 h 2520"/>
                <a:gd name="T54" fmla="*/ 1203 w 3040"/>
                <a:gd name="T55" fmla="*/ 612 h 2520"/>
                <a:gd name="T56" fmla="*/ 1166 w 3040"/>
                <a:gd name="T57" fmla="*/ 364 h 2520"/>
                <a:gd name="T58" fmla="*/ 1978 w 3040"/>
                <a:gd name="T59" fmla="*/ 0 h 2520"/>
                <a:gd name="T60" fmla="*/ 3010 w 3040"/>
                <a:gd name="T61" fmla="*/ 1905 h 2520"/>
                <a:gd name="T62" fmla="*/ 2604 w 3040"/>
                <a:gd name="T63" fmla="*/ 1960 h 2520"/>
                <a:gd name="T64" fmla="*/ 2504 w 3040"/>
                <a:gd name="T65" fmla="*/ 1977 h 2520"/>
                <a:gd name="T66" fmla="*/ 2416 w 3040"/>
                <a:gd name="T67" fmla="*/ 2227 h 2520"/>
                <a:gd name="T68" fmla="*/ 2143 w 3040"/>
                <a:gd name="T69" fmla="*/ 2205 h 2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0" h="2520">
                  <a:moveTo>
                    <a:pt x="37" y="2413"/>
                  </a:moveTo>
                  <a:lnTo>
                    <a:pt x="37" y="2307"/>
                  </a:lnTo>
                  <a:lnTo>
                    <a:pt x="1521" y="2307"/>
                  </a:lnTo>
                  <a:lnTo>
                    <a:pt x="3004" y="2307"/>
                  </a:lnTo>
                  <a:lnTo>
                    <a:pt x="3004" y="2413"/>
                  </a:lnTo>
                  <a:lnTo>
                    <a:pt x="3004" y="2520"/>
                  </a:lnTo>
                  <a:lnTo>
                    <a:pt x="1521" y="2520"/>
                  </a:lnTo>
                  <a:lnTo>
                    <a:pt x="37" y="2520"/>
                  </a:lnTo>
                  <a:lnTo>
                    <a:pt x="37" y="2413"/>
                  </a:lnTo>
                  <a:close/>
                  <a:moveTo>
                    <a:pt x="413" y="1730"/>
                  </a:moveTo>
                  <a:cubicBezTo>
                    <a:pt x="459" y="1457"/>
                    <a:pt x="494" y="1232"/>
                    <a:pt x="492" y="1231"/>
                  </a:cubicBezTo>
                  <a:cubicBezTo>
                    <a:pt x="491" y="1229"/>
                    <a:pt x="448" y="1257"/>
                    <a:pt x="397" y="1294"/>
                  </a:cubicBezTo>
                  <a:cubicBezTo>
                    <a:pt x="264" y="1389"/>
                    <a:pt x="168" y="1398"/>
                    <a:pt x="86" y="1322"/>
                  </a:cubicBezTo>
                  <a:cubicBezTo>
                    <a:pt x="0" y="1242"/>
                    <a:pt x="1" y="1113"/>
                    <a:pt x="87" y="1032"/>
                  </a:cubicBezTo>
                  <a:cubicBezTo>
                    <a:pt x="137" y="985"/>
                    <a:pt x="973" y="387"/>
                    <a:pt x="989" y="387"/>
                  </a:cubicBezTo>
                  <a:cubicBezTo>
                    <a:pt x="994" y="387"/>
                    <a:pt x="1009" y="417"/>
                    <a:pt x="1021" y="454"/>
                  </a:cubicBezTo>
                  <a:lnTo>
                    <a:pt x="1042" y="522"/>
                  </a:lnTo>
                  <a:lnTo>
                    <a:pt x="996" y="618"/>
                  </a:lnTo>
                  <a:lnTo>
                    <a:pt x="950" y="713"/>
                  </a:lnTo>
                  <a:lnTo>
                    <a:pt x="1004" y="760"/>
                  </a:lnTo>
                  <a:cubicBezTo>
                    <a:pt x="1034" y="786"/>
                    <a:pt x="1058" y="810"/>
                    <a:pt x="1058" y="815"/>
                  </a:cubicBezTo>
                  <a:cubicBezTo>
                    <a:pt x="1058" y="819"/>
                    <a:pt x="1001" y="862"/>
                    <a:pt x="932" y="911"/>
                  </a:cubicBezTo>
                  <a:cubicBezTo>
                    <a:pt x="855" y="966"/>
                    <a:pt x="804" y="1012"/>
                    <a:pt x="800" y="1030"/>
                  </a:cubicBezTo>
                  <a:cubicBezTo>
                    <a:pt x="787" y="1083"/>
                    <a:pt x="617" y="2119"/>
                    <a:pt x="617" y="2145"/>
                  </a:cubicBezTo>
                  <a:cubicBezTo>
                    <a:pt x="617" y="2166"/>
                    <a:pt x="633" y="2174"/>
                    <a:pt x="707" y="2186"/>
                  </a:cubicBezTo>
                  <a:cubicBezTo>
                    <a:pt x="922" y="2223"/>
                    <a:pt x="920" y="2224"/>
                    <a:pt x="624" y="2225"/>
                  </a:cubicBezTo>
                  <a:lnTo>
                    <a:pt x="330" y="2227"/>
                  </a:lnTo>
                  <a:lnTo>
                    <a:pt x="413" y="1730"/>
                  </a:lnTo>
                  <a:close/>
                  <a:moveTo>
                    <a:pt x="1037" y="2204"/>
                  </a:moveTo>
                  <a:cubicBezTo>
                    <a:pt x="1042" y="2191"/>
                    <a:pt x="1082" y="2099"/>
                    <a:pt x="1126" y="1998"/>
                  </a:cubicBezTo>
                  <a:lnTo>
                    <a:pt x="1207" y="1816"/>
                  </a:lnTo>
                  <a:lnTo>
                    <a:pt x="1314" y="1849"/>
                  </a:lnTo>
                  <a:cubicBezTo>
                    <a:pt x="1384" y="1871"/>
                    <a:pt x="1424" y="1877"/>
                    <a:pt x="1430" y="1868"/>
                  </a:cubicBezTo>
                  <a:cubicBezTo>
                    <a:pt x="1435" y="1861"/>
                    <a:pt x="1462" y="1710"/>
                    <a:pt x="1491" y="1534"/>
                  </a:cubicBezTo>
                  <a:cubicBezTo>
                    <a:pt x="1520" y="1357"/>
                    <a:pt x="1548" y="1215"/>
                    <a:pt x="1554" y="1217"/>
                  </a:cubicBezTo>
                  <a:cubicBezTo>
                    <a:pt x="1560" y="1219"/>
                    <a:pt x="1609" y="1294"/>
                    <a:pt x="1663" y="1384"/>
                  </a:cubicBezTo>
                  <a:cubicBezTo>
                    <a:pt x="1778" y="1577"/>
                    <a:pt x="1770" y="1584"/>
                    <a:pt x="1785" y="1263"/>
                  </a:cubicBezTo>
                  <a:cubicBezTo>
                    <a:pt x="1790" y="1154"/>
                    <a:pt x="1799" y="1070"/>
                    <a:pt x="1804" y="1076"/>
                  </a:cubicBezTo>
                  <a:cubicBezTo>
                    <a:pt x="1814" y="1087"/>
                    <a:pt x="1863" y="1839"/>
                    <a:pt x="1855" y="1847"/>
                  </a:cubicBezTo>
                  <a:cubicBezTo>
                    <a:pt x="1852" y="1850"/>
                    <a:pt x="1808" y="1798"/>
                    <a:pt x="1758" y="1733"/>
                  </a:cubicBezTo>
                  <a:cubicBezTo>
                    <a:pt x="1707" y="1667"/>
                    <a:pt x="1660" y="1613"/>
                    <a:pt x="1655" y="1613"/>
                  </a:cubicBezTo>
                  <a:cubicBezTo>
                    <a:pt x="1649" y="1613"/>
                    <a:pt x="1644" y="1684"/>
                    <a:pt x="1644" y="1770"/>
                  </a:cubicBezTo>
                  <a:cubicBezTo>
                    <a:pt x="1644" y="1856"/>
                    <a:pt x="1640" y="1976"/>
                    <a:pt x="1635" y="2037"/>
                  </a:cubicBezTo>
                  <a:lnTo>
                    <a:pt x="1627" y="2147"/>
                  </a:lnTo>
                  <a:lnTo>
                    <a:pt x="1517" y="2147"/>
                  </a:lnTo>
                  <a:lnTo>
                    <a:pt x="1406" y="2147"/>
                  </a:lnTo>
                  <a:lnTo>
                    <a:pt x="1397" y="2187"/>
                  </a:lnTo>
                  <a:lnTo>
                    <a:pt x="1389" y="2227"/>
                  </a:lnTo>
                  <a:lnTo>
                    <a:pt x="1208" y="2227"/>
                  </a:lnTo>
                  <a:cubicBezTo>
                    <a:pt x="1043" y="2227"/>
                    <a:pt x="1029" y="2225"/>
                    <a:pt x="1037" y="2204"/>
                  </a:cubicBezTo>
                  <a:close/>
                  <a:moveTo>
                    <a:pt x="2143" y="2205"/>
                  </a:moveTo>
                  <a:cubicBezTo>
                    <a:pt x="2180" y="2109"/>
                    <a:pt x="2382" y="1524"/>
                    <a:pt x="2381" y="1513"/>
                  </a:cubicBezTo>
                  <a:cubicBezTo>
                    <a:pt x="2381" y="1498"/>
                    <a:pt x="1900" y="493"/>
                    <a:pt x="1885" y="476"/>
                  </a:cubicBezTo>
                  <a:cubicBezTo>
                    <a:pt x="1879" y="470"/>
                    <a:pt x="1739" y="532"/>
                    <a:pt x="1572" y="613"/>
                  </a:cubicBezTo>
                  <a:cubicBezTo>
                    <a:pt x="1253" y="767"/>
                    <a:pt x="1252" y="767"/>
                    <a:pt x="1199" y="708"/>
                  </a:cubicBezTo>
                  <a:cubicBezTo>
                    <a:pt x="1174" y="681"/>
                    <a:pt x="1175" y="679"/>
                    <a:pt x="1203" y="612"/>
                  </a:cubicBezTo>
                  <a:cubicBezTo>
                    <a:pt x="1235" y="538"/>
                    <a:pt x="1235" y="535"/>
                    <a:pt x="1193" y="432"/>
                  </a:cubicBezTo>
                  <a:lnTo>
                    <a:pt x="1166" y="364"/>
                  </a:lnTo>
                  <a:lnTo>
                    <a:pt x="1543" y="182"/>
                  </a:lnTo>
                  <a:cubicBezTo>
                    <a:pt x="1846" y="36"/>
                    <a:pt x="1932" y="0"/>
                    <a:pt x="1978" y="0"/>
                  </a:cubicBezTo>
                  <a:cubicBezTo>
                    <a:pt x="2065" y="0"/>
                    <a:pt x="2117" y="40"/>
                    <a:pt x="2173" y="151"/>
                  </a:cubicBezTo>
                  <a:cubicBezTo>
                    <a:pt x="2329" y="459"/>
                    <a:pt x="3003" y="1873"/>
                    <a:pt x="3010" y="1905"/>
                  </a:cubicBezTo>
                  <a:cubicBezTo>
                    <a:pt x="3040" y="2038"/>
                    <a:pt x="2907" y="2164"/>
                    <a:pt x="2770" y="2133"/>
                  </a:cubicBezTo>
                  <a:cubicBezTo>
                    <a:pt x="2703" y="2118"/>
                    <a:pt x="2657" y="2070"/>
                    <a:pt x="2604" y="1960"/>
                  </a:cubicBezTo>
                  <a:cubicBezTo>
                    <a:pt x="2579" y="1909"/>
                    <a:pt x="2555" y="1867"/>
                    <a:pt x="2551" y="1867"/>
                  </a:cubicBezTo>
                  <a:cubicBezTo>
                    <a:pt x="2546" y="1867"/>
                    <a:pt x="2525" y="1916"/>
                    <a:pt x="2504" y="1977"/>
                  </a:cubicBezTo>
                  <a:cubicBezTo>
                    <a:pt x="2484" y="2037"/>
                    <a:pt x="2455" y="2118"/>
                    <a:pt x="2441" y="2157"/>
                  </a:cubicBezTo>
                  <a:lnTo>
                    <a:pt x="2416" y="2227"/>
                  </a:lnTo>
                  <a:lnTo>
                    <a:pt x="2275" y="2227"/>
                  </a:lnTo>
                  <a:cubicBezTo>
                    <a:pt x="2151" y="2227"/>
                    <a:pt x="2136" y="2224"/>
                    <a:pt x="2143" y="2205"/>
                  </a:cubicBezTo>
                  <a:close/>
                </a:path>
              </a:pathLst>
            </a:custGeom>
            <a:solidFill>
              <a:schemeClr val="bg1"/>
            </a:solidFill>
            <a:ln w="0">
              <a:noFill/>
              <a:prstDash val="solid"/>
              <a:round/>
              <a:headEnd/>
              <a:tailEnd/>
            </a:ln>
          </p:spPr>
          <p:txBody>
            <a:bodyPr vert="horz" wrap="square" lIns="91440" tIns="45719" rIns="91440" bIns="45719" numCol="1" anchor="t" anchorCtr="0" compatLnSpc="1">
              <a:prstTxWarp prst="textNoShape">
                <a:avLst/>
              </a:prstTxWarp>
              <a:noAutofit/>
            </a:bodyPr>
            <a:lstStyle/>
            <a:p>
              <a:endParaRPr lang="es-CO" dirty="0">
                <a:latin typeface="+mn-lt"/>
              </a:endParaRPr>
            </a:p>
          </p:txBody>
        </p:sp>
      </p:grpSp>
      <p:sp>
        <p:nvSpPr>
          <p:cNvPr id="101" name="TextBox 100"/>
          <p:cNvSpPr txBox="1">
            <a:spLocks/>
          </p:cNvSpPr>
          <p:nvPr/>
        </p:nvSpPr>
        <p:spPr>
          <a:xfrm>
            <a:off x="739140" y="4595252"/>
            <a:ext cx="2031505" cy="20311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s-CO" sz="1999" dirty="0">
                <a:solidFill>
                  <a:schemeClr val="accent5"/>
                </a:solidFill>
              </a:rPr>
              <a:t>330 millones </a:t>
            </a:r>
          </a:p>
          <a:p>
            <a:pPr algn="ctr"/>
            <a:r>
              <a:rPr lang="es-CO" dirty="0"/>
              <a:t>de hogares urbanos están </a:t>
            </a:r>
            <a:r>
              <a:rPr lang="es-CO" b="1" dirty="0">
                <a:solidFill>
                  <a:schemeClr val="accent3"/>
                </a:solidFill>
              </a:rPr>
              <a:t>sobrecargados financieramente, pagando más de 30% de sus ingresos mensuales en vivienda</a:t>
            </a:r>
          </a:p>
        </p:txBody>
      </p:sp>
      <p:sp>
        <p:nvSpPr>
          <p:cNvPr id="102" name="TextBox 101"/>
          <p:cNvSpPr txBox="1">
            <a:spLocks/>
          </p:cNvSpPr>
          <p:nvPr/>
        </p:nvSpPr>
        <p:spPr>
          <a:xfrm>
            <a:off x="2937089" y="4595252"/>
            <a:ext cx="2031505" cy="10464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s-CO" sz="1999" dirty="0">
                <a:solidFill>
                  <a:schemeClr val="accent5"/>
                </a:solidFill>
              </a:rPr>
              <a:t>235 millones </a:t>
            </a:r>
          </a:p>
          <a:p>
            <a:pPr algn="ctr"/>
            <a:r>
              <a:rPr lang="es-CO" dirty="0"/>
              <a:t>de hogares urbanos viven en </a:t>
            </a:r>
            <a:r>
              <a:rPr lang="es-CO" b="1" dirty="0">
                <a:solidFill>
                  <a:schemeClr val="accent3"/>
                </a:solidFill>
              </a:rPr>
              <a:t>viviendas deficientes</a:t>
            </a:r>
          </a:p>
        </p:txBody>
      </p:sp>
      <p:grpSp>
        <p:nvGrpSpPr>
          <p:cNvPr id="103" name="Group 102"/>
          <p:cNvGrpSpPr>
            <a:grpSpLocks/>
          </p:cNvGrpSpPr>
          <p:nvPr/>
        </p:nvGrpSpPr>
        <p:grpSpPr>
          <a:xfrm>
            <a:off x="1010801" y="3182774"/>
            <a:ext cx="1285684" cy="1285680"/>
            <a:chOff x="708779" y="4239230"/>
            <a:chExt cx="1536100" cy="1536095"/>
          </a:xfrm>
        </p:grpSpPr>
        <p:sp>
          <p:nvSpPr>
            <p:cNvPr id="104" name="Oval 109"/>
            <p:cNvSpPr>
              <a:spLocks noChangeArrowheads="1"/>
            </p:cNvSpPr>
            <p:nvPr>
              <p:custDataLst>
                <p:tags r:id="rId3"/>
              </p:custDataLst>
            </p:nvPr>
          </p:nvSpPr>
          <p:spPr bwMode="gray">
            <a:xfrm>
              <a:off x="708779" y="4239230"/>
              <a:ext cx="1536100" cy="1536095"/>
            </a:xfrm>
            <a:prstGeom prst="ellipse">
              <a:avLst/>
            </a:prstGeom>
            <a:solidFill>
              <a:schemeClr val="accent3"/>
            </a:solidFill>
            <a:ln>
              <a:noFill/>
            </a:ln>
            <a:effectLst/>
            <a:extLst>
              <a:ext uri="{91240B29-F687-4f45-9708-019B960494DF}">
                <a14:hiddenLine xmlns:a14="http://schemas.microsoft.com/office/drawing/2010/main" xmlns="" w="9525" algn="ctr">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noAutofit/>
            </a:bodyPr>
            <a:lstStyle/>
            <a:p>
              <a:pPr defTabSz="895285">
                <a:buClr>
                  <a:schemeClr val="tx2"/>
                </a:buClr>
              </a:pPr>
              <a:endParaRPr lang="es-CO" sz="1400" dirty="0">
                <a:solidFill>
                  <a:schemeClr val="bg1"/>
                </a:solidFill>
                <a:latin typeface="+mn-lt"/>
              </a:endParaRPr>
            </a:p>
          </p:txBody>
        </p:sp>
        <p:sp>
          <p:nvSpPr>
            <p:cNvPr id="105" name="Freeform 6"/>
            <p:cNvSpPr>
              <a:spLocks noEditPoints="1"/>
            </p:cNvSpPr>
            <p:nvPr/>
          </p:nvSpPr>
          <p:spPr bwMode="auto">
            <a:xfrm>
              <a:off x="962933" y="4499553"/>
              <a:ext cx="1027792" cy="1015448"/>
            </a:xfrm>
            <a:custGeom>
              <a:avLst/>
              <a:gdLst>
                <a:gd name="T0" fmla="*/ 855 w 2601"/>
                <a:gd name="T1" fmla="*/ 2221 h 2570"/>
                <a:gd name="T2" fmla="*/ 1355 w 2601"/>
                <a:gd name="T3" fmla="*/ 2246 h 2570"/>
                <a:gd name="T4" fmla="*/ 1855 w 2601"/>
                <a:gd name="T5" fmla="*/ 2221 h 2570"/>
                <a:gd name="T6" fmla="*/ 352 w 2601"/>
                <a:gd name="T7" fmla="*/ 2257 h 2570"/>
                <a:gd name="T8" fmla="*/ 129 w 2601"/>
                <a:gd name="T9" fmla="*/ 1854 h 2570"/>
                <a:gd name="T10" fmla="*/ 721 w 2601"/>
                <a:gd name="T11" fmla="*/ 2140 h 2570"/>
                <a:gd name="T12" fmla="*/ 352 w 2601"/>
                <a:gd name="T13" fmla="*/ 2257 h 2570"/>
                <a:gd name="T14" fmla="*/ 2131 w 2601"/>
                <a:gd name="T15" fmla="*/ 1995 h 2570"/>
                <a:gd name="T16" fmla="*/ 2565 w 2601"/>
                <a:gd name="T17" fmla="*/ 2156 h 2570"/>
                <a:gd name="T18" fmla="*/ 1988 w 2601"/>
                <a:gd name="T19" fmla="*/ 2284 h 2570"/>
                <a:gd name="T20" fmla="*/ 882 w 2601"/>
                <a:gd name="T21" fmla="*/ 2021 h 2570"/>
                <a:gd name="T22" fmla="*/ 905 w 2601"/>
                <a:gd name="T23" fmla="*/ 1750 h 2570"/>
                <a:gd name="T24" fmla="*/ 1661 w 2601"/>
                <a:gd name="T25" fmla="*/ 1831 h 2570"/>
                <a:gd name="T26" fmla="*/ 1855 w 2601"/>
                <a:gd name="T27" fmla="*/ 1843 h 2570"/>
                <a:gd name="T28" fmla="*/ 381 w 2601"/>
                <a:gd name="T29" fmla="*/ 1891 h 2570"/>
                <a:gd name="T30" fmla="*/ 108 w 2601"/>
                <a:gd name="T31" fmla="*/ 1460 h 2570"/>
                <a:gd name="T32" fmla="*/ 658 w 2601"/>
                <a:gd name="T33" fmla="*/ 1624 h 2570"/>
                <a:gd name="T34" fmla="*/ 721 w 2601"/>
                <a:gd name="T35" fmla="*/ 1910 h 2570"/>
                <a:gd name="T36" fmla="*/ 1988 w 2601"/>
                <a:gd name="T37" fmla="*/ 1765 h 2570"/>
                <a:gd name="T38" fmla="*/ 2425 w 2601"/>
                <a:gd name="T39" fmla="*/ 1576 h 2570"/>
                <a:gd name="T40" fmla="*/ 2601 w 2601"/>
                <a:gd name="T41" fmla="*/ 1600 h 2570"/>
                <a:gd name="T42" fmla="*/ 2151 w 2601"/>
                <a:gd name="T43" fmla="*/ 1907 h 2570"/>
                <a:gd name="T44" fmla="*/ 1186 w 2601"/>
                <a:gd name="T45" fmla="*/ 1777 h 2570"/>
                <a:gd name="T46" fmla="*/ 855 w 2601"/>
                <a:gd name="T47" fmla="*/ 1328 h 2570"/>
                <a:gd name="T48" fmla="*/ 1355 w 2601"/>
                <a:gd name="T49" fmla="*/ 1490 h 2570"/>
                <a:gd name="T50" fmla="*/ 1857 w 2601"/>
                <a:gd name="T51" fmla="*/ 1326 h 2570"/>
                <a:gd name="T52" fmla="*/ 1611 w 2601"/>
                <a:gd name="T53" fmla="*/ 1758 h 2570"/>
                <a:gd name="T54" fmla="*/ 136 w 2601"/>
                <a:gd name="T55" fmla="*/ 1395 h 2570"/>
                <a:gd name="T56" fmla="*/ 591 w 2601"/>
                <a:gd name="T57" fmla="*/ 1247 h 2570"/>
                <a:gd name="T58" fmla="*/ 721 w 2601"/>
                <a:gd name="T59" fmla="*/ 1537 h 2570"/>
                <a:gd name="T60" fmla="*/ 1988 w 2601"/>
                <a:gd name="T61" fmla="*/ 1393 h 2570"/>
                <a:gd name="T62" fmla="*/ 2580 w 2601"/>
                <a:gd name="T63" fmla="*/ 1107 h 2570"/>
                <a:gd name="T64" fmla="*/ 2102 w 2601"/>
                <a:gd name="T65" fmla="*/ 1537 h 2570"/>
                <a:gd name="T66" fmla="*/ 1190 w 2601"/>
                <a:gd name="T67" fmla="*/ 1403 h 2570"/>
                <a:gd name="T68" fmla="*/ 1759 w 2601"/>
                <a:gd name="T69" fmla="*/ 1335 h 2570"/>
                <a:gd name="T70" fmla="*/ 141 w 2601"/>
                <a:gd name="T71" fmla="*/ 1027 h 2570"/>
                <a:gd name="T72" fmla="*/ 142 w 2601"/>
                <a:gd name="T73" fmla="*/ 745 h 2570"/>
                <a:gd name="T74" fmla="*/ 1108 w 2601"/>
                <a:gd name="T75" fmla="*/ 701 h 2570"/>
                <a:gd name="T76" fmla="*/ 1011 w 2601"/>
                <a:gd name="T77" fmla="*/ 960 h 2570"/>
                <a:gd name="T78" fmla="*/ 400 w 2601"/>
                <a:gd name="T79" fmla="*/ 1143 h 2570"/>
                <a:gd name="T80" fmla="*/ 1698 w 2601"/>
                <a:gd name="T81" fmla="*/ 960 h 2570"/>
                <a:gd name="T82" fmla="*/ 1601 w 2601"/>
                <a:gd name="T83" fmla="*/ 701 h 2570"/>
                <a:gd name="T84" fmla="*/ 2568 w 2601"/>
                <a:gd name="T85" fmla="*/ 745 h 2570"/>
                <a:gd name="T86" fmla="*/ 2568 w 2601"/>
                <a:gd name="T87" fmla="*/ 1027 h 2570"/>
                <a:gd name="T88" fmla="*/ 435 w 2601"/>
                <a:gd name="T89" fmla="*/ 777 h 2570"/>
                <a:gd name="T90" fmla="*/ 941 w 2601"/>
                <a:gd name="T91" fmla="*/ 736 h 2570"/>
                <a:gd name="T92" fmla="*/ 1725 w 2601"/>
                <a:gd name="T93" fmla="*/ 710 h 2570"/>
                <a:gd name="T94" fmla="*/ 1629 w 2601"/>
                <a:gd name="T95" fmla="*/ 355 h 2570"/>
                <a:gd name="T96" fmla="*/ 2601 w 2601"/>
                <a:gd name="T97" fmla="*/ 333 h 2570"/>
                <a:gd name="T98" fmla="*/ 1910 w 2601"/>
                <a:gd name="T99" fmla="*/ 771 h 2570"/>
                <a:gd name="T100" fmla="*/ 2288 w 2601"/>
                <a:gd name="T101" fmla="*/ 57 h 2570"/>
                <a:gd name="T102" fmla="*/ 1951 w 2601"/>
                <a:gd name="T103" fmla="*/ 403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1" h="2570">
                  <a:moveTo>
                    <a:pt x="1140" y="2517"/>
                  </a:moveTo>
                  <a:cubicBezTo>
                    <a:pt x="1025" y="2492"/>
                    <a:pt x="926" y="2446"/>
                    <a:pt x="888" y="2401"/>
                  </a:cubicBezTo>
                  <a:cubicBezTo>
                    <a:pt x="857" y="2364"/>
                    <a:pt x="855" y="2351"/>
                    <a:pt x="855" y="2221"/>
                  </a:cubicBezTo>
                  <a:lnTo>
                    <a:pt x="855" y="2080"/>
                  </a:lnTo>
                  <a:lnTo>
                    <a:pt x="891" y="2116"/>
                  </a:lnTo>
                  <a:cubicBezTo>
                    <a:pt x="977" y="2202"/>
                    <a:pt x="1134" y="2246"/>
                    <a:pt x="1355" y="2246"/>
                  </a:cubicBezTo>
                  <a:cubicBezTo>
                    <a:pt x="1575" y="2246"/>
                    <a:pt x="1732" y="2202"/>
                    <a:pt x="1818" y="2116"/>
                  </a:cubicBezTo>
                  <a:lnTo>
                    <a:pt x="1855" y="2080"/>
                  </a:lnTo>
                  <a:lnTo>
                    <a:pt x="1855" y="2221"/>
                  </a:lnTo>
                  <a:cubicBezTo>
                    <a:pt x="1855" y="2351"/>
                    <a:pt x="1852" y="2364"/>
                    <a:pt x="1822" y="2401"/>
                  </a:cubicBezTo>
                  <a:cubicBezTo>
                    <a:pt x="1729" y="2511"/>
                    <a:pt x="1383" y="2570"/>
                    <a:pt x="1140" y="2517"/>
                  </a:cubicBezTo>
                  <a:close/>
                  <a:moveTo>
                    <a:pt x="352" y="2257"/>
                  </a:moveTo>
                  <a:cubicBezTo>
                    <a:pt x="239" y="2227"/>
                    <a:pt x="193" y="2205"/>
                    <a:pt x="144" y="2156"/>
                  </a:cubicBezTo>
                  <a:cubicBezTo>
                    <a:pt x="109" y="2121"/>
                    <a:pt x="108" y="2115"/>
                    <a:pt x="108" y="1972"/>
                  </a:cubicBezTo>
                  <a:cubicBezTo>
                    <a:pt x="108" y="1835"/>
                    <a:pt x="109" y="1826"/>
                    <a:pt x="129" y="1854"/>
                  </a:cubicBezTo>
                  <a:cubicBezTo>
                    <a:pt x="187" y="1937"/>
                    <a:pt x="365" y="1993"/>
                    <a:pt x="578" y="1995"/>
                  </a:cubicBezTo>
                  <a:lnTo>
                    <a:pt x="721" y="1997"/>
                  </a:lnTo>
                  <a:lnTo>
                    <a:pt x="721" y="2140"/>
                  </a:lnTo>
                  <a:lnTo>
                    <a:pt x="721" y="2284"/>
                  </a:lnTo>
                  <a:lnTo>
                    <a:pt x="585" y="2283"/>
                  </a:lnTo>
                  <a:cubicBezTo>
                    <a:pt x="496" y="2282"/>
                    <a:pt x="414" y="2273"/>
                    <a:pt x="352" y="2257"/>
                  </a:cubicBezTo>
                  <a:close/>
                  <a:moveTo>
                    <a:pt x="1988" y="2140"/>
                  </a:moveTo>
                  <a:lnTo>
                    <a:pt x="1988" y="1997"/>
                  </a:lnTo>
                  <a:lnTo>
                    <a:pt x="2131" y="1995"/>
                  </a:lnTo>
                  <a:cubicBezTo>
                    <a:pt x="2344" y="1993"/>
                    <a:pt x="2523" y="1937"/>
                    <a:pt x="2581" y="1854"/>
                  </a:cubicBezTo>
                  <a:cubicBezTo>
                    <a:pt x="2600" y="1826"/>
                    <a:pt x="2601" y="1835"/>
                    <a:pt x="2601" y="1972"/>
                  </a:cubicBezTo>
                  <a:cubicBezTo>
                    <a:pt x="2601" y="2115"/>
                    <a:pt x="2600" y="2121"/>
                    <a:pt x="2565" y="2156"/>
                  </a:cubicBezTo>
                  <a:cubicBezTo>
                    <a:pt x="2515" y="2206"/>
                    <a:pt x="2470" y="2227"/>
                    <a:pt x="2352" y="2258"/>
                  </a:cubicBezTo>
                  <a:cubicBezTo>
                    <a:pt x="2285" y="2275"/>
                    <a:pt x="2205" y="2284"/>
                    <a:pt x="2119" y="2284"/>
                  </a:cubicBezTo>
                  <a:lnTo>
                    <a:pt x="1988" y="2284"/>
                  </a:lnTo>
                  <a:lnTo>
                    <a:pt x="1988" y="2140"/>
                  </a:lnTo>
                  <a:close/>
                  <a:moveTo>
                    <a:pt x="1150" y="2143"/>
                  </a:moveTo>
                  <a:cubicBezTo>
                    <a:pt x="1037" y="2123"/>
                    <a:pt x="920" y="2070"/>
                    <a:pt x="882" y="2021"/>
                  </a:cubicBezTo>
                  <a:cubicBezTo>
                    <a:pt x="858" y="1991"/>
                    <a:pt x="855" y="1967"/>
                    <a:pt x="855" y="1843"/>
                  </a:cubicBezTo>
                  <a:lnTo>
                    <a:pt x="855" y="1700"/>
                  </a:lnTo>
                  <a:lnTo>
                    <a:pt x="905" y="1750"/>
                  </a:lnTo>
                  <a:cubicBezTo>
                    <a:pt x="938" y="1783"/>
                    <a:pt x="985" y="1810"/>
                    <a:pt x="1048" y="1831"/>
                  </a:cubicBezTo>
                  <a:cubicBezTo>
                    <a:pt x="1131" y="1860"/>
                    <a:pt x="1164" y="1864"/>
                    <a:pt x="1355" y="1864"/>
                  </a:cubicBezTo>
                  <a:cubicBezTo>
                    <a:pt x="1545" y="1864"/>
                    <a:pt x="1578" y="1860"/>
                    <a:pt x="1661" y="1831"/>
                  </a:cubicBezTo>
                  <a:cubicBezTo>
                    <a:pt x="1724" y="1810"/>
                    <a:pt x="1771" y="1783"/>
                    <a:pt x="1805" y="1750"/>
                  </a:cubicBezTo>
                  <a:lnTo>
                    <a:pt x="1855" y="1700"/>
                  </a:lnTo>
                  <a:lnTo>
                    <a:pt x="1855" y="1843"/>
                  </a:lnTo>
                  <a:cubicBezTo>
                    <a:pt x="1855" y="1967"/>
                    <a:pt x="1851" y="1991"/>
                    <a:pt x="1828" y="2021"/>
                  </a:cubicBezTo>
                  <a:cubicBezTo>
                    <a:pt x="1739" y="2133"/>
                    <a:pt x="1417" y="2192"/>
                    <a:pt x="1150" y="2143"/>
                  </a:cubicBezTo>
                  <a:close/>
                  <a:moveTo>
                    <a:pt x="381" y="1891"/>
                  </a:moveTo>
                  <a:cubicBezTo>
                    <a:pt x="261" y="1864"/>
                    <a:pt x="193" y="1832"/>
                    <a:pt x="148" y="1782"/>
                  </a:cubicBezTo>
                  <a:cubicBezTo>
                    <a:pt x="109" y="1737"/>
                    <a:pt x="108" y="1732"/>
                    <a:pt x="108" y="1598"/>
                  </a:cubicBezTo>
                  <a:lnTo>
                    <a:pt x="108" y="1460"/>
                  </a:lnTo>
                  <a:lnTo>
                    <a:pt x="154" y="1504"/>
                  </a:lnTo>
                  <a:cubicBezTo>
                    <a:pt x="181" y="1529"/>
                    <a:pt x="236" y="1560"/>
                    <a:pt x="284" y="1576"/>
                  </a:cubicBezTo>
                  <a:cubicBezTo>
                    <a:pt x="390" y="1611"/>
                    <a:pt x="575" y="1635"/>
                    <a:pt x="658" y="1624"/>
                  </a:cubicBezTo>
                  <a:lnTo>
                    <a:pt x="721" y="1616"/>
                  </a:lnTo>
                  <a:lnTo>
                    <a:pt x="721" y="1763"/>
                  </a:lnTo>
                  <a:lnTo>
                    <a:pt x="721" y="1910"/>
                  </a:lnTo>
                  <a:lnTo>
                    <a:pt x="591" y="1909"/>
                  </a:lnTo>
                  <a:cubicBezTo>
                    <a:pt x="520" y="1909"/>
                    <a:pt x="425" y="1900"/>
                    <a:pt x="381" y="1891"/>
                  </a:cubicBezTo>
                  <a:close/>
                  <a:moveTo>
                    <a:pt x="1988" y="1765"/>
                  </a:moveTo>
                  <a:lnTo>
                    <a:pt x="1988" y="1616"/>
                  </a:lnTo>
                  <a:lnTo>
                    <a:pt x="2051" y="1624"/>
                  </a:lnTo>
                  <a:cubicBezTo>
                    <a:pt x="2134" y="1635"/>
                    <a:pt x="2319" y="1611"/>
                    <a:pt x="2425" y="1576"/>
                  </a:cubicBezTo>
                  <a:cubicBezTo>
                    <a:pt x="2473" y="1560"/>
                    <a:pt x="2528" y="1529"/>
                    <a:pt x="2555" y="1504"/>
                  </a:cubicBezTo>
                  <a:lnTo>
                    <a:pt x="2601" y="1460"/>
                  </a:lnTo>
                  <a:lnTo>
                    <a:pt x="2601" y="1600"/>
                  </a:lnTo>
                  <a:lnTo>
                    <a:pt x="2601" y="1740"/>
                  </a:lnTo>
                  <a:lnTo>
                    <a:pt x="2551" y="1790"/>
                  </a:lnTo>
                  <a:cubicBezTo>
                    <a:pt x="2478" y="1863"/>
                    <a:pt x="2359" y="1898"/>
                    <a:pt x="2151" y="1907"/>
                  </a:cubicBezTo>
                  <a:lnTo>
                    <a:pt x="1988" y="1914"/>
                  </a:lnTo>
                  <a:lnTo>
                    <a:pt x="1988" y="1765"/>
                  </a:lnTo>
                  <a:close/>
                  <a:moveTo>
                    <a:pt x="1186" y="1777"/>
                  </a:moveTo>
                  <a:cubicBezTo>
                    <a:pt x="1027" y="1752"/>
                    <a:pt x="891" y="1685"/>
                    <a:pt x="867" y="1621"/>
                  </a:cubicBezTo>
                  <a:cubicBezTo>
                    <a:pt x="860" y="1603"/>
                    <a:pt x="855" y="1530"/>
                    <a:pt x="855" y="1458"/>
                  </a:cubicBezTo>
                  <a:lnTo>
                    <a:pt x="855" y="1328"/>
                  </a:lnTo>
                  <a:lnTo>
                    <a:pt x="906" y="1377"/>
                  </a:lnTo>
                  <a:cubicBezTo>
                    <a:pt x="941" y="1410"/>
                    <a:pt x="989" y="1436"/>
                    <a:pt x="1056" y="1458"/>
                  </a:cubicBezTo>
                  <a:cubicBezTo>
                    <a:pt x="1143" y="1486"/>
                    <a:pt x="1179" y="1490"/>
                    <a:pt x="1355" y="1490"/>
                  </a:cubicBezTo>
                  <a:cubicBezTo>
                    <a:pt x="1530" y="1490"/>
                    <a:pt x="1567" y="1486"/>
                    <a:pt x="1653" y="1458"/>
                  </a:cubicBezTo>
                  <a:cubicBezTo>
                    <a:pt x="1721" y="1436"/>
                    <a:pt x="1768" y="1410"/>
                    <a:pt x="1804" y="1376"/>
                  </a:cubicBezTo>
                  <a:lnTo>
                    <a:pt x="1857" y="1326"/>
                  </a:lnTo>
                  <a:lnTo>
                    <a:pt x="1852" y="1476"/>
                  </a:lnTo>
                  <a:cubicBezTo>
                    <a:pt x="1849" y="1602"/>
                    <a:pt x="1844" y="1632"/>
                    <a:pt x="1823" y="1655"/>
                  </a:cubicBezTo>
                  <a:cubicBezTo>
                    <a:pt x="1791" y="1690"/>
                    <a:pt x="1702" y="1734"/>
                    <a:pt x="1611" y="1758"/>
                  </a:cubicBezTo>
                  <a:cubicBezTo>
                    <a:pt x="1523" y="1782"/>
                    <a:pt x="1285" y="1792"/>
                    <a:pt x="1186" y="1777"/>
                  </a:cubicBezTo>
                  <a:close/>
                  <a:moveTo>
                    <a:pt x="383" y="1515"/>
                  </a:moveTo>
                  <a:cubicBezTo>
                    <a:pt x="272" y="1491"/>
                    <a:pt x="174" y="1444"/>
                    <a:pt x="136" y="1395"/>
                  </a:cubicBezTo>
                  <a:cubicBezTo>
                    <a:pt x="112" y="1364"/>
                    <a:pt x="108" y="1342"/>
                    <a:pt x="108" y="1219"/>
                  </a:cubicBezTo>
                  <a:cubicBezTo>
                    <a:pt x="108" y="1087"/>
                    <a:pt x="109" y="1080"/>
                    <a:pt x="129" y="1107"/>
                  </a:cubicBezTo>
                  <a:cubicBezTo>
                    <a:pt x="182" y="1184"/>
                    <a:pt x="385" y="1245"/>
                    <a:pt x="591" y="1247"/>
                  </a:cubicBezTo>
                  <a:lnTo>
                    <a:pt x="721" y="1248"/>
                  </a:lnTo>
                  <a:lnTo>
                    <a:pt x="721" y="1393"/>
                  </a:lnTo>
                  <a:lnTo>
                    <a:pt x="721" y="1537"/>
                  </a:lnTo>
                  <a:lnTo>
                    <a:pt x="598" y="1536"/>
                  </a:lnTo>
                  <a:cubicBezTo>
                    <a:pt x="530" y="1535"/>
                    <a:pt x="433" y="1526"/>
                    <a:pt x="383" y="1515"/>
                  </a:cubicBezTo>
                  <a:close/>
                  <a:moveTo>
                    <a:pt x="1988" y="1393"/>
                  </a:moveTo>
                  <a:lnTo>
                    <a:pt x="1988" y="1248"/>
                  </a:lnTo>
                  <a:lnTo>
                    <a:pt x="2118" y="1247"/>
                  </a:lnTo>
                  <a:cubicBezTo>
                    <a:pt x="2325" y="1245"/>
                    <a:pt x="2527" y="1184"/>
                    <a:pt x="2580" y="1107"/>
                  </a:cubicBezTo>
                  <a:cubicBezTo>
                    <a:pt x="2600" y="1080"/>
                    <a:pt x="2601" y="1087"/>
                    <a:pt x="2601" y="1219"/>
                  </a:cubicBezTo>
                  <a:cubicBezTo>
                    <a:pt x="2601" y="1342"/>
                    <a:pt x="2598" y="1364"/>
                    <a:pt x="2573" y="1395"/>
                  </a:cubicBezTo>
                  <a:cubicBezTo>
                    <a:pt x="2509" y="1477"/>
                    <a:pt x="2309" y="1537"/>
                    <a:pt x="2102" y="1537"/>
                  </a:cubicBezTo>
                  <a:lnTo>
                    <a:pt x="1988" y="1537"/>
                  </a:lnTo>
                  <a:lnTo>
                    <a:pt x="1988" y="1393"/>
                  </a:lnTo>
                  <a:close/>
                  <a:moveTo>
                    <a:pt x="1190" y="1403"/>
                  </a:moveTo>
                  <a:cubicBezTo>
                    <a:pt x="1004" y="1377"/>
                    <a:pt x="855" y="1300"/>
                    <a:pt x="855" y="1230"/>
                  </a:cubicBezTo>
                  <a:cubicBezTo>
                    <a:pt x="855" y="1119"/>
                    <a:pt x="1124" y="1033"/>
                    <a:pt x="1421" y="1048"/>
                  </a:cubicBezTo>
                  <a:cubicBezTo>
                    <a:pt x="1790" y="1066"/>
                    <a:pt x="1980" y="1228"/>
                    <a:pt x="1759" y="1335"/>
                  </a:cubicBezTo>
                  <a:cubicBezTo>
                    <a:pt x="1627" y="1398"/>
                    <a:pt x="1373" y="1429"/>
                    <a:pt x="1190" y="1403"/>
                  </a:cubicBezTo>
                  <a:close/>
                  <a:moveTo>
                    <a:pt x="400" y="1143"/>
                  </a:moveTo>
                  <a:cubicBezTo>
                    <a:pt x="281" y="1120"/>
                    <a:pt x="181" y="1075"/>
                    <a:pt x="141" y="1027"/>
                  </a:cubicBezTo>
                  <a:cubicBezTo>
                    <a:pt x="111" y="991"/>
                    <a:pt x="108" y="978"/>
                    <a:pt x="108" y="850"/>
                  </a:cubicBezTo>
                  <a:lnTo>
                    <a:pt x="108" y="711"/>
                  </a:lnTo>
                  <a:lnTo>
                    <a:pt x="142" y="745"/>
                  </a:lnTo>
                  <a:cubicBezTo>
                    <a:pt x="230" y="834"/>
                    <a:pt x="412" y="877"/>
                    <a:pt x="659" y="867"/>
                  </a:cubicBezTo>
                  <a:cubicBezTo>
                    <a:pt x="858" y="859"/>
                    <a:pt x="979" y="824"/>
                    <a:pt x="1057" y="750"/>
                  </a:cubicBezTo>
                  <a:lnTo>
                    <a:pt x="1108" y="701"/>
                  </a:lnTo>
                  <a:lnTo>
                    <a:pt x="1108" y="816"/>
                  </a:lnTo>
                  <a:lnTo>
                    <a:pt x="1108" y="932"/>
                  </a:lnTo>
                  <a:lnTo>
                    <a:pt x="1011" y="960"/>
                  </a:lnTo>
                  <a:cubicBezTo>
                    <a:pt x="901" y="993"/>
                    <a:pt x="798" y="1055"/>
                    <a:pt x="766" y="1110"/>
                  </a:cubicBezTo>
                  <a:cubicBezTo>
                    <a:pt x="753" y="1131"/>
                    <a:pt x="731" y="1152"/>
                    <a:pt x="716" y="1156"/>
                  </a:cubicBezTo>
                  <a:cubicBezTo>
                    <a:pt x="668" y="1169"/>
                    <a:pt x="492" y="1162"/>
                    <a:pt x="400" y="1143"/>
                  </a:cubicBezTo>
                  <a:close/>
                  <a:moveTo>
                    <a:pt x="1987" y="1155"/>
                  </a:moveTo>
                  <a:cubicBezTo>
                    <a:pt x="1976" y="1152"/>
                    <a:pt x="1956" y="1132"/>
                    <a:pt x="1944" y="1111"/>
                  </a:cubicBezTo>
                  <a:cubicBezTo>
                    <a:pt x="1911" y="1055"/>
                    <a:pt x="1809" y="993"/>
                    <a:pt x="1698" y="960"/>
                  </a:cubicBezTo>
                  <a:lnTo>
                    <a:pt x="1601" y="932"/>
                  </a:lnTo>
                  <a:lnTo>
                    <a:pt x="1601" y="816"/>
                  </a:lnTo>
                  <a:lnTo>
                    <a:pt x="1601" y="701"/>
                  </a:lnTo>
                  <a:lnTo>
                    <a:pt x="1655" y="752"/>
                  </a:lnTo>
                  <a:cubicBezTo>
                    <a:pt x="1732" y="825"/>
                    <a:pt x="1847" y="859"/>
                    <a:pt x="2050" y="867"/>
                  </a:cubicBezTo>
                  <a:cubicBezTo>
                    <a:pt x="2297" y="877"/>
                    <a:pt x="2479" y="834"/>
                    <a:pt x="2568" y="745"/>
                  </a:cubicBezTo>
                  <a:lnTo>
                    <a:pt x="2601" y="711"/>
                  </a:lnTo>
                  <a:lnTo>
                    <a:pt x="2601" y="850"/>
                  </a:lnTo>
                  <a:cubicBezTo>
                    <a:pt x="2601" y="978"/>
                    <a:pt x="2599" y="991"/>
                    <a:pt x="2568" y="1027"/>
                  </a:cubicBezTo>
                  <a:cubicBezTo>
                    <a:pt x="2527" y="1077"/>
                    <a:pt x="2428" y="1120"/>
                    <a:pt x="2299" y="1144"/>
                  </a:cubicBezTo>
                  <a:cubicBezTo>
                    <a:pt x="2206" y="1162"/>
                    <a:pt x="2035" y="1168"/>
                    <a:pt x="1987" y="1155"/>
                  </a:cubicBezTo>
                  <a:close/>
                  <a:moveTo>
                    <a:pt x="435" y="777"/>
                  </a:moveTo>
                  <a:cubicBezTo>
                    <a:pt x="90" y="725"/>
                    <a:pt x="0" y="569"/>
                    <a:pt x="259" y="472"/>
                  </a:cubicBezTo>
                  <a:cubicBezTo>
                    <a:pt x="421" y="412"/>
                    <a:pt x="705" y="402"/>
                    <a:pt x="888" y="451"/>
                  </a:cubicBezTo>
                  <a:cubicBezTo>
                    <a:pt x="1148" y="521"/>
                    <a:pt x="1174" y="658"/>
                    <a:pt x="941" y="736"/>
                  </a:cubicBezTo>
                  <a:cubicBezTo>
                    <a:pt x="796" y="785"/>
                    <a:pt x="596" y="801"/>
                    <a:pt x="435" y="777"/>
                  </a:cubicBezTo>
                  <a:close/>
                  <a:moveTo>
                    <a:pt x="1910" y="771"/>
                  </a:moveTo>
                  <a:cubicBezTo>
                    <a:pt x="1855" y="761"/>
                    <a:pt x="1772" y="733"/>
                    <a:pt x="1725" y="710"/>
                  </a:cubicBezTo>
                  <a:cubicBezTo>
                    <a:pt x="1616" y="656"/>
                    <a:pt x="1601" y="625"/>
                    <a:pt x="1601" y="449"/>
                  </a:cubicBezTo>
                  <a:lnTo>
                    <a:pt x="1601" y="320"/>
                  </a:lnTo>
                  <a:lnTo>
                    <a:pt x="1629" y="355"/>
                  </a:lnTo>
                  <a:cubicBezTo>
                    <a:pt x="1697" y="442"/>
                    <a:pt x="1882" y="496"/>
                    <a:pt x="2109" y="497"/>
                  </a:cubicBezTo>
                  <a:cubicBezTo>
                    <a:pt x="2318" y="497"/>
                    <a:pt x="2484" y="451"/>
                    <a:pt x="2565" y="370"/>
                  </a:cubicBezTo>
                  <a:lnTo>
                    <a:pt x="2601" y="333"/>
                  </a:lnTo>
                  <a:lnTo>
                    <a:pt x="2601" y="473"/>
                  </a:lnTo>
                  <a:cubicBezTo>
                    <a:pt x="2601" y="632"/>
                    <a:pt x="2587" y="663"/>
                    <a:pt x="2496" y="710"/>
                  </a:cubicBezTo>
                  <a:cubicBezTo>
                    <a:pt x="2364" y="777"/>
                    <a:pt x="2091" y="805"/>
                    <a:pt x="1910" y="771"/>
                  </a:cubicBezTo>
                  <a:close/>
                  <a:moveTo>
                    <a:pt x="1951" y="403"/>
                  </a:moveTo>
                  <a:cubicBezTo>
                    <a:pt x="1780" y="380"/>
                    <a:pt x="1664" y="331"/>
                    <a:pt x="1621" y="265"/>
                  </a:cubicBezTo>
                  <a:cubicBezTo>
                    <a:pt x="1531" y="128"/>
                    <a:pt x="1942" y="0"/>
                    <a:pt x="2288" y="57"/>
                  </a:cubicBezTo>
                  <a:cubicBezTo>
                    <a:pt x="2473" y="87"/>
                    <a:pt x="2601" y="156"/>
                    <a:pt x="2601" y="225"/>
                  </a:cubicBezTo>
                  <a:cubicBezTo>
                    <a:pt x="2601" y="290"/>
                    <a:pt x="2499" y="356"/>
                    <a:pt x="2352" y="388"/>
                  </a:cubicBezTo>
                  <a:cubicBezTo>
                    <a:pt x="2253" y="409"/>
                    <a:pt x="2048" y="417"/>
                    <a:pt x="1951" y="403"/>
                  </a:cubicBezTo>
                  <a:close/>
                </a:path>
              </a:pathLst>
            </a:custGeom>
            <a:solidFill>
              <a:schemeClr val="bg1"/>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grpSp>
      <p:sp>
        <p:nvSpPr>
          <p:cNvPr id="110" name="TextBox 109"/>
          <p:cNvSpPr txBox="1">
            <a:spLocks/>
          </p:cNvSpPr>
          <p:nvPr/>
        </p:nvSpPr>
        <p:spPr>
          <a:xfrm>
            <a:off x="5367619" y="4844674"/>
            <a:ext cx="6238296" cy="55387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s-CO" dirty="0"/>
              <a:t>... afectando a más de </a:t>
            </a:r>
            <a:r>
              <a:rPr lang="es-CO" sz="1999" dirty="0">
                <a:solidFill>
                  <a:schemeClr val="accent5"/>
                </a:solidFill>
              </a:rPr>
              <a:t>1.600 millones de</a:t>
            </a:r>
            <a:r>
              <a:rPr lang="es-CO" dirty="0"/>
              <a:t> </a:t>
            </a:r>
            <a:r>
              <a:rPr lang="es-CO" b="1" dirty="0">
                <a:solidFill>
                  <a:schemeClr val="accent3"/>
                </a:solidFill>
              </a:rPr>
              <a:t>personas</a:t>
            </a:r>
            <a:r>
              <a:rPr lang="es-CO" dirty="0"/>
              <a:t> o </a:t>
            </a:r>
            <a:r>
              <a:rPr lang="es-CO" sz="1999" dirty="0">
                <a:solidFill>
                  <a:schemeClr val="accent5"/>
                </a:solidFill>
              </a:rPr>
              <a:t>un tercio</a:t>
            </a:r>
            <a:r>
              <a:rPr lang="es-CO" dirty="0"/>
              <a:t> de </a:t>
            </a:r>
            <a:r>
              <a:rPr lang="es-CO" b="1" dirty="0">
                <a:solidFill>
                  <a:schemeClr val="accent3"/>
                </a:solidFill>
              </a:rPr>
              <a:t>la población urbana</a:t>
            </a:r>
          </a:p>
        </p:txBody>
      </p:sp>
      <p:grpSp>
        <p:nvGrpSpPr>
          <p:cNvPr id="5" name="Group 4">
            <a:extLst>
              <a:ext uri="{FF2B5EF4-FFF2-40B4-BE49-F238E27FC236}">
                <a16:creationId xmlns:a16="http://schemas.microsoft.com/office/drawing/2014/main" id="{C3186636-1450-4BAF-9EAC-902C4E5B2768}"/>
              </a:ext>
            </a:extLst>
          </p:cNvPr>
          <p:cNvGrpSpPr/>
          <p:nvPr/>
        </p:nvGrpSpPr>
        <p:grpSpPr>
          <a:xfrm>
            <a:off x="5367618" y="3708981"/>
            <a:ext cx="6317809" cy="922694"/>
            <a:chOff x="5267241" y="3838784"/>
            <a:chExt cx="3955198" cy="577643"/>
          </a:xfrm>
        </p:grpSpPr>
        <p:sp>
          <p:nvSpPr>
            <p:cNvPr id="111" name="Freeform 15"/>
            <p:cNvSpPr>
              <a:spLocks noEditPoints="1"/>
            </p:cNvSpPr>
            <p:nvPr/>
          </p:nvSpPr>
          <p:spPr bwMode="auto">
            <a:xfrm>
              <a:off x="5267241"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3"/>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2" name="Freeform 15"/>
            <p:cNvSpPr>
              <a:spLocks noEditPoints="1"/>
            </p:cNvSpPr>
            <p:nvPr/>
          </p:nvSpPr>
          <p:spPr bwMode="auto">
            <a:xfrm>
              <a:off x="6585723"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3" name="Freeform 15"/>
            <p:cNvSpPr>
              <a:spLocks noEditPoints="1"/>
            </p:cNvSpPr>
            <p:nvPr/>
          </p:nvSpPr>
          <p:spPr bwMode="auto">
            <a:xfrm>
              <a:off x="5486988"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3"/>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4" name="Freeform 15"/>
            <p:cNvSpPr>
              <a:spLocks noEditPoints="1"/>
            </p:cNvSpPr>
            <p:nvPr/>
          </p:nvSpPr>
          <p:spPr bwMode="auto">
            <a:xfrm>
              <a:off x="5706735"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3"/>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5" name="Freeform 15"/>
            <p:cNvSpPr>
              <a:spLocks noEditPoints="1"/>
            </p:cNvSpPr>
            <p:nvPr/>
          </p:nvSpPr>
          <p:spPr bwMode="auto">
            <a:xfrm>
              <a:off x="5926482"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3"/>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6" name="Freeform 15"/>
            <p:cNvSpPr>
              <a:spLocks noEditPoints="1"/>
            </p:cNvSpPr>
            <p:nvPr/>
          </p:nvSpPr>
          <p:spPr bwMode="auto">
            <a:xfrm>
              <a:off x="6146229"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3"/>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7" name="Freeform 15"/>
            <p:cNvSpPr>
              <a:spLocks noEditPoints="1"/>
            </p:cNvSpPr>
            <p:nvPr/>
          </p:nvSpPr>
          <p:spPr bwMode="auto">
            <a:xfrm>
              <a:off x="6365976"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3"/>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8" name="Freeform 15"/>
            <p:cNvSpPr>
              <a:spLocks noEditPoints="1"/>
            </p:cNvSpPr>
            <p:nvPr/>
          </p:nvSpPr>
          <p:spPr bwMode="auto">
            <a:xfrm>
              <a:off x="6805470"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19" name="Freeform 15"/>
            <p:cNvSpPr>
              <a:spLocks noEditPoints="1"/>
            </p:cNvSpPr>
            <p:nvPr/>
          </p:nvSpPr>
          <p:spPr bwMode="auto">
            <a:xfrm>
              <a:off x="7025217"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0" name="Freeform 15"/>
            <p:cNvSpPr>
              <a:spLocks noEditPoints="1"/>
            </p:cNvSpPr>
            <p:nvPr/>
          </p:nvSpPr>
          <p:spPr bwMode="auto">
            <a:xfrm>
              <a:off x="7244964"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1" name="Freeform 15"/>
            <p:cNvSpPr>
              <a:spLocks noEditPoints="1"/>
            </p:cNvSpPr>
            <p:nvPr/>
          </p:nvSpPr>
          <p:spPr bwMode="auto">
            <a:xfrm>
              <a:off x="7464711"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2" name="Freeform 15"/>
            <p:cNvSpPr>
              <a:spLocks noEditPoints="1"/>
            </p:cNvSpPr>
            <p:nvPr/>
          </p:nvSpPr>
          <p:spPr bwMode="auto">
            <a:xfrm>
              <a:off x="7684458"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3" name="Freeform 15"/>
            <p:cNvSpPr>
              <a:spLocks noEditPoints="1"/>
            </p:cNvSpPr>
            <p:nvPr/>
          </p:nvSpPr>
          <p:spPr bwMode="auto">
            <a:xfrm>
              <a:off x="7904205"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4" name="Freeform 15"/>
            <p:cNvSpPr>
              <a:spLocks noEditPoints="1"/>
            </p:cNvSpPr>
            <p:nvPr/>
          </p:nvSpPr>
          <p:spPr bwMode="auto">
            <a:xfrm>
              <a:off x="8123952"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5" name="Freeform 15"/>
            <p:cNvSpPr>
              <a:spLocks noEditPoints="1"/>
            </p:cNvSpPr>
            <p:nvPr/>
          </p:nvSpPr>
          <p:spPr bwMode="auto">
            <a:xfrm>
              <a:off x="8343699"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6" name="Freeform 15"/>
            <p:cNvSpPr>
              <a:spLocks noEditPoints="1"/>
            </p:cNvSpPr>
            <p:nvPr/>
          </p:nvSpPr>
          <p:spPr bwMode="auto">
            <a:xfrm>
              <a:off x="8563446"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7" name="Freeform 15"/>
            <p:cNvSpPr>
              <a:spLocks noEditPoints="1"/>
            </p:cNvSpPr>
            <p:nvPr/>
          </p:nvSpPr>
          <p:spPr bwMode="auto">
            <a:xfrm>
              <a:off x="8783193"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sp>
          <p:nvSpPr>
            <p:cNvPr id="128" name="Freeform 15"/>
            <p:cNvSpPr>
              <a:spLocks noEditPoints="1"/>
            </p:cNvSpPr>
            <p:nvPr/>
          </p:nvSpPr>
          <p:spPr bwMode="auto">
            <a:xfrm>
              <a:off x="9002943" y="3838784"/>
              <a:ext cx="219496" cy="577643"/>
            </a:xfrm>
            <a:custGeom>
              <a:avLst/>
              <a:gdLst>
                <a:gd name="T0" fmla="*/ 279 w 1053"/>
                <a:gd name="T1" fmla="*/ 2713 h 2767"/>
                <a:gd name="T2" fmla="*/ 240 w 1053"/>
                <a:gd name="T3" fmla="*/ 2674 h 2767"/>
                <a:gd name="T4" fmla="*/ 240 w 1053"/>
                <a:gd name="T5" fmla="*/ 1793 h 2767"/>
                <a:gd name="T6" fmla="*/ 213 w 1053"/>
                <a:gd name="T7" fmla="*/ 912 h 2767"/>
                <a:gd name="T8" fmla="*/ 187 w 1053"/>
                <a:gd name="T9" fmla="*/ 1231 h 2767"/>
                <a:gd name="T10" fmla="*/ 159 w 1053"/>
                <a:gd name="T11" fmla="*/ 1584 h 2767"/>
                <a:gd name="T12" fmla="*/ 27 w 1053"/>
                <a:gd name="T13" fmla="*/ 1592 h 2767"/>
                <a:gd name="T14" fmla="*/ 0 w 1053"/>
                <a:gd name="T15" fmla="*/ 1168 h 2767"/>
                <a:gd name="T16" fmla="*/ 31 w 1053"/>
                <a:gd name="T17" fmla="*/ 711 h 2767"/>
                <a:gd name="T18" fmla="*/ 119 w 1053"/>
                <a:gd name="T19" fmla="*/ 612 h 2767"/>
                <a:gd name="T20" fmla="*/ 176 w 1053"/>
                <a:gd name="T21" fmla="*/ 572 h 2767"/>
                <a:gd name="T22" fmla="*/ 507 w 1053"/>
                <a:gd name="T23" fmla="*/ 568 h 2767"/>
                <a:gd name="T24" fmla="*/ 984 w 1053"/>
                <a:gd name="T25" fmla="*/ 667 h 2767"/>
                <a:gd name="T26" fmla="*/ 1053 w 1053"/>
                <a:gd name="T27" fmla="*/ 1190 h 2767"/>
                <a:gd name="T28" fmla="*/ 1026 w 1053"/>
                <a:gd name="T29" fmla="*/ 1584 h 2767"/>
                <a:gd name="T30" fmla="*/ 896 w 1053"/>
                <a:gd name="T31" fmla="*/ 1598 h 2767"/>
                <a:gd name="T32" fmla="*/ 867 w 1053"/>
                <a:gd name="T33" fmla="*/ 1245 h 2767"/>
                <a:gd name="T34" fmla="*/ 867 w 1053"/>
                <a:gd name="T35" fmla="*/ 912 h 2767"/>
                <a:gd name="T36" fmla="*/ 833 w 1053"/>
                <a:gd name="T37" fmla="*/ 912 h 2767"/>
                <a:gd name="T38" fmla="*/ 800 w 1053"/>
                <a:gd name="T39" fmla="*/ 912 h 2767"/>
                <a:gd name="T40" fmla="*/ 800 w 1053"/>
                <a:gd name="T41" fmla="*/ 1796 h 2767"/>
                <a:gd name="T42" fmla="*/ 783 w 1053"/>
                <a:gd name="T43" fmla="*/ 2700 h 2767"/>
                <a:gd name="T44" fmla="*/ 613 w 1053"/>
                <a:gd name="T45" fmla="*/ 2739 h 2767"/>
                <a:gd name="T46" fmla="*/ 547 w 1053"/>
                <a:gd name="T47" fmla="*/ 2140 h 2767"/>
                <a:gd name="T48" fmla="*/ 520 w 1053"/>
                <a:gd name="T49" fmla="*/ 1632 h 2767"/>
                <a:gd name="T50" fmla="*/ 493 w 1053"/>
                <a:gd name="T51" fmla="*/ 2153 h 2767"/>
                <a:gd name="T52" fmla="*/ 493 w 1053"/>
                <a:gd name="T53" fmla="*/ 2674 h 2767"/>
                <a:gd name="T54" fmla="*/ 454 w 1053"/>
                <a:gd name="T55" fmla="*/ 2713 h 2767"/>
                <a:gd name="T56" fmla="*/ 367 w 1053"/>
                <a:gd name="T57" fmla="*/ 2752 h 2767"/>
                <a:gd name="T58" fmla="*/ 279 w 1053"/>
                <a:gd name="T59" fmla="*/ 2713 h 2767"/>
                <a:gd name="T60" fmla="*/ 433 w 1053"/>
                <a:gd name="T61" fmla="*/ 480 h 2767"/>
                <a:gd name="T62" fmla="*/ 312 w 1053"/>
                <a:gd name="T63" fmla="*/ 344 h 2767"/>
                <a:gd name="T64" fmla="*/ 310 w 1053"/>
                <a:gd name="T65" fmla="*/ 253 h 2767"/>
                <a:gd name="T66" fmla="*/ 668 w 1053"/>
                <a:gd name="T67" fmla="*/ 124 h 2767"/>
                <a:gd name="T68" fmla="*/ 621 w 1053"/>
                <a:gd name="T69" fmla="*/ 472 h 2767"/>
                <a:gd name="T70" fmla="*/ 433 w 1053"/>
                <a:gd name="T71" fmla="*/ 480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3" h="2767">
                  <a:moveTo>
                    <a:pt x="279" y="2713"/>
                  </a:moveTo>
                  <a:lnTo>
                    <a:pt x="240" y="2674"/>
                  </a:lnTo>
                  <a:lnTo>
                    <a:pt x="240" y="1793"/>
                  </a:lnTo>
                  <a:cubicBezTo>
                    <a:pt x="240" y="921"/>
                    <a:pt x="240" y="912"/>
                    <a:pt x="213" y="912"/>
                  </a:cubicBezTo>
                  <a:cubicBezTo>
                    <a:pt x="187" y="912"/>
                    <a:pt x="187" y="921"/>
                    <a:pt x="187" y="1231"/>
                  </a:cubicBezTo>
                  <a:cubicBezTo>
                    <a:pt x="187" y="1532"/>
                    <a:pt x="185" y="1551"/>
                    <a:pt x="159" y="1584"/>
                  </a:cubicBezTo>
                  <a:cubicBezTo>
                    <a:pt x="125" y="1627"/>
                    <a:pt x="65" y="1631"/>
                    <a:pt x="27" y="1592"/>
                  </a:cubicBezTo>
                  <a:cubicBezTo>
                    <a:pt x="1" y="1567"/>
                    <a:pt x="0" y="1548"/>
                    <a:pt x="0" y="1168"/>
                  </a:cubicBezTo>
                  <a:cubicBezTo>
                    <a:pt x="0" y="777"/>
                    <a:pt x="1" y="769"/>
                    <a:pt x="31" y="711"/>
                  </a:cubicBezTo>
                  <a:cubicBezTo>
                    <a:pt x="48" y="679"/>
                    <a:pt x="88" y="634"/>
                    <a:pt x="119" y="612"/>
                  </a:cubicBezTo>
                  <a:lnTo>
                    <a:pt x="176" y="572"/>
                  </a:lnTo>
                  <a:lnTo>
                    <a:pt x="507" y="568"/>
                  </a:lnTo>
                  <a:cubicBezTo>
                    <a:pt x="881" y="564"/>
                    <a:pt x="903" y="568"/>
                    <a:pt x="984" y="667"/>
                  </a:cubicBezTo>
                  <a:cubicBezTo>
                    <a:pt x="1046" y="742"/>
                    <a:pt x="1053" y="797"/>
                    <a:pt x="1053" y="1190"/>
                  </a:cubicBezTo>
                  <a:cubicBezTo>
                    <a:pt x="1053" y="1533"/>
                    <a:pt x="1052" y="1550"/>
                    <a:pt x="1026" y="1584"/>
                  </a:cubicBezTo>
                  <a:cubicBezTo>
                    <a:pt x="994" y="1624"/>
                    <a:pt x="942" y="1630"/>
                    <a:pt x="896" y="1598"/>
                  </a:cubicBezTo>
                  <a:cubicBezTo>
                    <a:pt x="867" y="1578"/>
                    <a:pt x="867" y="1573"/>
                    <a:pt x="867" y="1245"/>
                  </a:cubicBezTo>
                  <a:lnTo>
                    <a:pt x="867" y="912"/>
                  </a:lnTo>
                  <a:lnTo>
                    <a:pt x="833" y="912"/>
                  </a:lnTo>
                  <a:lnTo>
                    <a:pt x="800" y="912"/>
                  </a:lnTo>
                  <a:lnTo>
                    <a:pt x="800" y="1796"/>
                  </a:lnTo>
                  <a:cubicBezTo>
                    <a:pt x="799" y="2469"/>
                    <a:pt x="795" y="2684"/>
                    <a:pt x="783" y="2700"/>
                  </a:cubicBezTo>
                  <a:cubicBezTo>
                    <a:pt x="746" y="2749"/>
                    <a:pt x="665" y="2767"/>
                    <a:pt x="613" y="2739"/>
                  </a:cubicBezTo>
                  <a:cubicBezTo>
                    <a:pt x="549" y="2705"/>
                    <a:pt x="547" y="2680"/>
                    <a:pt x="547" y="2140"/>
                  </a:cubicBezTo>
                  <a:cubicBezTo>
                    <a:pt x="547" y="1641"/>
                    <a:pt x="546" y="1632"/>
                    <a:pt x="520" y="1632"/>
                  </a:cubicBezTo>
                  <a:cubicBezTo>
                    <a:pt x="494" y="1632"/>
                    <a:pt x="493" y="1641"/>
                    <a:pt x="493" y="2153"/>
                  </a:cubicBezTo>
                  <a:lnTo>
                    <a:pt x="493" y="2674"/>
                  </a:lnTo>
                  <a:lnTo>
                    <a:pt x="454" y="2713"/>
                  </a:lnTo>
                  <a:cubicBezTo>
                    <a:pt x="426" y="2742"/>
                    <a:pt x="403" y="2752"/>
                    <a:pt x="367" y="2752"/>
                  </a:cubicBezTo>
                  <a:cubicBezTo>
                    <a:pt x="331" y="2752"/>
                    <a:pt x="308" y="2742"/>
                    <a:pt x="279" y="2713"/>
                  </a:cubicBezTo>
                  <a:close/>
                  <a:moveTo>
                    <a:pt x="433" y="480"/>
                  </a:moveTo>
                  <a:cubicBezTo>
                    <a:pt x="384" y="459"/>
                    <a:pt x="323" y="390"/>
                    <a:pt x="312" y="344"/>
                  </a:cubicBezTo>
                  <a:cubicBezTo>
                    <a:pt x="307" y="326"/>
                    <a:pt x="306" y="285"/>
                    <a:pt x="310" y="253"/>
                  </a:cubicBezTo>
                  <a:cubicBezTo>
                    <a:pt x="330" y="77"/>
                    <a:pt x="544" y="0"/>
                    <a:pt x="668" y="124"/>
                  </a:cubicBezTo>
                  <a:cubicBezTo>
                    <a:pt x="780" y="236"/>
                    <a:pt x="757" y="406"/>
                    <a:pt x="621" y="472"/>
                  </a:cubicBezTo>
                  <a:cubicBezTo>
                    <a:pt x="557" y="503"/>
                    <a:pt x="491" y="506"/>
                    <a:pt x="433" y="480"/>
                  </a:cubicBezTo>
                  <a:close/>
                </a:path>
              </a:pathLst>
            </a:custGeom>
            <a:solidFill>
              <a:schemeClr val="accent6"/>
            </a:solidFill>
            <a:ln w="0">
              <a:noFill/>
              <a:prstDash val="solid"/>
              <a:round/>
              <a:headEnd/>
              <a:tailEnd/>
            </a:ln>
          </p:spPr>
          <p:txBody>
            <a:bodyPr vert="horz" wrap="square" lIns="91440" tIns="45719" rIns="91440" bIns="45719" numCol="1" anchor="t" anchorCtr="0" compatLnSpc="1">
              <a:prstTxWarp prst="textNoShape">
                <a:avLst/>
              </a:prstTxWarp>
            </a:bodyPr>
            <a:lstStyle/>
            <a:p>
              <a:endParaRPr lang="es-CO" dirty="0">
                <a:latin typeface="+mn-lt"/>
              </a:endParaRPr>
            </a:p>
          </p:txBody>
        </p:sp>
      </p:grpSp>
      <p:sp>
        <p:nvSpPr>
          <p:cNvPr id="129" name="TextBox 128"/>
          <p:cNvSpPr txBox="1">
            <a:spLocks/>
          </p:cNvSpPr>
          <p:nvPr/>
        </p:nvSpPr>
        <p:spPr>
          <a:xfrm>
            <a:off x="5367619" y="2942112"/>
            <a:ext cx="6373469" cy="55387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999" dirty="0">
                <a:solidFill>
                  <a:schemeClr val="accent5"/>
                </a:solidFill>
              </a:rPr>
              <a:t>440 millones</a:t>
            </a:r>
            <a:r>
              <a:rPr lang="es-CO" dirty="0"/>
              <a:t> </a:t>
            </a:r>
            <a:r>
              <a:rPr lang="es-CO" b="1" dirty="0">
                <a:solidFill>
                  <a:schemeClr val="accent3"/>
                </a:solidFill>
              </a:rPr>
              <a:t>de hogares adicionales</a:t>
            </a:r>
            <a:r>
              <a:rPr lang="es-CO" dirty="0"/>
              <a:t> enfrentarán el desafío de la vivienda asequible</a:t>
            </a:r>
          </a:p>
        </p:txBody>
      </p:sp>
      <p:sp>
        <p:nvSpPr>
          <p:cNvPr id="131" name="TextBox 130"/>
          <p:cNvSpPr txBox="1">
            <a:spLocks/>
          </p:cNvSpPr>
          <p:nvPr/>
        </p:nvSpPr>
        <p:spPr>
          <a:xfrm>
            <a:off x="954565" y="2447577"/>
            <a:ext cx="4229452"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800" b="1" dirty="0">
                <a:solidFill>
                  <a:schemeClr val="bg1"/>
                </a:solidFill>
              </a:rPr>
              <a:t>El desafío hoy ...</a:t>
            </a:r>
          </a:p>
        </p:txBody>
      </p:sp>
      <p:sp>
        <p:nvSpPr>
          <p:cNvPr id="132" name="TextBox 131"/>
          <p:cNvSpPr txBox="1">
            <a:spLocks/>
          </p:cNvSpPr>
          <p:nvPr/>
        </p:nvSpPr>
        <p:spPr>
          <a:xfrm>
            <a:off x="5367619" y="2447577"/>
            <a:ext cx="2584451"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800" b="1" dirty="0">
                <a:solidFill>
                  <a:schemeClr val="bg1"/>
                </a:solidFill>
              </a:rPr>
              <a:t>... y para 2025</a:t>
            </a:r>
          </a:p>
        </p:txBody>
      </p:sp>
      <p:sp>
        <p:nvSpPr>
          <p:cNvPr id="7" name="TextBox 6">
            <a:extLst>
              <a:ext uri="{FF2B5EF4-FFF2-40B4-BE49-F238E27FC236}">
                <a16:creationId xmlns:a16="http://schemas.microsoft.com/office/drawing/2014/main" id="{D0D41CC0-1523-4B6B-AEA7-0ED6469BDCD3}"/>
              </a:ext>
            </a:extLst>
          </p:cNvPr>
          <p:cNvSpPr txBox="1"/>
          <p:nvPr/>
        </p:nvSpPr>
        <p:spPr>
          <a:xfrm>
            <a:off x="1452563" y="1951379"/>
            <a:ext cx="6238296" cy="553870"/>
          </a:xfrm>
          <a:prstGeom prst="rect">
            <a:avLst/>
          </a:prstGeom>
        </p:spPr>
        <p:txBody>
          <a:bodyPr vert="horz"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s-CO"/>
              <a:t>Text</a:t>
            </a:r>
            <a:endParaRPr lang="es-CO" dirty="0"/>
          </a:p>
        </p:txBody>
      </p:sp>
      <p:sp>
        <p:nvSpPr>
          <p:cNvPr id="6" name="TextBox 5">
            <a:extLst>
              <a:ext uri="{FF2B5EF4-FFF2-40B4-BE49-F238E27FC236}">
                <a16:creationId xmlns:a16="http://schemas.microsoft.com/office/drawing/2014/main" id="{F5E903E9-23E8-46FF-9869-38BFEC3B5201}"/>
              </a:ext>
            </a:extLst>
          </p:cNvPr>
          <p:cNvSpPr txBox="1"/>
          <p:nvPr/>
        </p:nvSpPr>
        <p:spPr>
          <a:xfrm>
            <a:off x="5628240" y="5734146"/>
            <a:ext cx="5355560"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r>
              <a:rPr lang="es-CO" dirty="0"/>
              <a:t>Este efecto genera </a:t>
            </a:r>
            <a:r>
              <a:rPr lang="es-CO" dirty="0" err="1"/>
              <a:t>perdidas</a:t>
            </a:r>
            <a:r>
              <a:rPr lang="es-CO" dirty="0"/>
              <a:t> en el </a:t>
            </a:r>
            <a:r>
              <a:rPr lang="es-CO" dirty="0" err="1"/>
              <a:t>GDP</a:t>
            </a:r>
            <a:r>
              <a:rPr lang="es-CO" dirty="0"/>
              <a:t>, por ejemplo se estima en 6% en California</a:t>
            </a:r>
          </a:p>
        </p:txBody>
      </p:sp>
    </p:spTree>
    <p:extLst>
      <p:ext uri="{BB962C8B-B14F-4D97-AF65-F5344CB8AC3E}">
        <p14:creationId xmlns:p14="http://schemas.microsoft.com/office/powerpoint/2010/main" val="1883053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12327355"/>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23965" name="think-cell Slide" r:id="rId10" imgW="270" imgH="270" progId="TCLayout.ActiveDocument.1">
                  <p:embed/>
                </p:oleObj>
              </mc:Choice>
              <mc:Fallback>
                <p:oleObj name="think-cell Slide" r:id="rId10" imgW="270" imgH="270" progId="TCLayout.ActiveDocument.1">
                  <p:embed/>
                  <p:pic>
                    <p:nvPicPr>
                      <p:cNvPr id="18" name="Object 17" hidden="1"/>
                      <p:cNvPicPr/>
                      <p:nvPr/>
                    </p:nvPicPr>
                    <p:blipFill>
                      <a:blip r:embed="rId11"/>
                      <a:stretch>
                        <a:fillRect/>
                      </a:stretch>
                    </p:blipFill>
                    <p:spPr>
                      <a:xfrm>
                        <a:off x="1495426" y="1589"/>
                        <a:ext cx="1586" cy="1586"/>
                      </a:xfrm>
                      <a:prstGeom prst="rect">
                        <a:avLst/>
                      </a:prstGeom>
                    </p:spPr>
                  </p:pic>
                </p:oleObj>
              </mc:Fallback>
            </mc:AlternateContent>
          </a:graphicData>
        </a:graphic>
      </p:graphicFrame>
      <p:pic>
        <p:nvPicPr>
          <p:cNvPr id="5" name="Picture 4"/>
          <p:cNvPicPr>
            <a:picLocks/>
          </p:cNvPicPr>
          <p:nvPr/>
        </p:nvPicPr>
        <p:blipFill rotWithShape="1">
          <a:blip r:embed="rId12" cstate="email">
            <a:extLst>
              <a:ext uri="{28A0092B-C50C-407E-A947-70E740481C1C}">
                <a14:useLocalDpi xmlns:a14="http://schemas.microsoft.com/office/drawing/2010/main"/>
              </a:ext>
            </a:extLst>
          </a:blip>
          <a:srcRect t="12112" b="7339"/>
          <a:stretch/>
        </p:blipFill>
        <p:spPr>
          <a:xfrm>
            <a:off x="8963612" y="1432560"/>
            <a:ext cx="2985501" cy="4460240"/>
          </a:xfrm>
          <a:prstGeom prst="rect">
            <a:avLst/>
          </a:prstGeom>
        </p:spPr>
      </p:pic>
      <p:sp>
        <p:nvSpPr>
          <p:cNvPr id="2" name="Title 1"/>
          <p:cNvSpPr>
            <a:spLocks noGrp="1"/>
          </p:cNvSpPr>
          <p:nvPr>
            <p:ph type="title"/>
          </p:nvPr>
        </p:nvSpPr>
        <p:spPr>
          <a:xfrm>
            <a:off x="739140" y="353604"/>
            <a:ext cx="9436303" cy="92333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s-CO" dirty="0"/>
              <a:t>El stock global de viviendas no se ha expandido lo suficientemente rápido como para mantenerse al ritmo de un aumento en la demanda, pero las ciudades pueden enfocarse en tres soluciones del lado de la oferta para avanzar.</a:t>
            </a:r>
          </a:p>
        </p:txBody>
      </p:sp>
      <p:sp>
        <p:nvSpPr>
          <p:cNvPr id="521" name="AutoShape 11"/>
          <p:cNvSpPr>
            <a:spLocks noChangeArrowheads="1"/>
          </p:cNvSpPr>
          <p:nvPr>
            <p:custDataLst>
              <p:tags r:id="rId3"/>
            </p:custDataLst>
          </p:nvPr>
        </p:nvSpPr>
        <p:spPr bwMode="gray">
          <a:xfrm flipV="1">
            <a:off x="604752" y="5875857"/>
            <a:ext cx="8300683" cy="40558"/>
          </a:xfrm>
          <a:custGeom>
            <a:avLst/>
            <a:gdLst>
              <a:gd name="G0" fmla="+- 105 0 0"/>
              <a:gd name="G1" fmla="+- 21600 0 105"/>
              <a:gd name="G2" fmla="*/ 105 1 2"/>
              <a:gd name="G3" fmla="+- 21600 0 G2"/>
              <a:gd name="G4" fmla="+/ 105 21600 2"/>
              <a:gd name="G5" fmla="+/ G1 0 2"/>
              <a:gd name="G6" fmla="*/ 21600 21600 105"/>
              <a:gd name="G7" fmla="*/ G6 1 2"/>
              <a:gd name="G8" fmla="+- 21600 0 G7"/>
              <a:gd name="G9" fmla="*/ 21600 1 2"/>
              <a:gd name="G10" fmla="+- 105 0 G9"/>
              <a:gd name="G11" fmla="?: G10 G8 0"/>
              <a:gd name="G12" fmla="?: G10 G7 21600"/>
              <a:gd name="T0" fmla="*/ 21547 w 21600"/>
              <a:gd name="T1" fmla="*/ 10800 h 21600"/>
              <a:gd name="T2" fmla="*/ 10800 w 21600"/>
              <a:gd name="T3" fmla="*/ 21600 h 21600"/>
              <a:gd name="T4" fmla="*/ 53 w 21600"/>
              <a:gd name="T5" fmla="*/ 10800 h 21600"/>
              <a:gd name="T6" fmla="*/ 10800 w 21600"/>
              <a:gd name="T7" fmla="*/ 0 h 21600"/>
              <a:gd name="T8" fmla="*/ 1853 w 21600"/>
              <a:gd name="T9" fmla="*/ 1853 h 21600"/>
              <a:gd name="T10" fmla="*/ 19747 w 21600"/>
              <a:gd name="T11" fmla="*/ 19747 h 21600"/>
            </a:gdLst>
            <a:ahLst/>
            <a:cxnLst>
              <a:cxn ang="0">
                <a:pos x="T0" y="T1"/>
              </a:cxn>
              <a:cxn ang="0">
                <a:pos x="T2" y="T3"/>
              </a:cxn>
              <a:cxn ang="0">
                <a:pos x="T4" y="T5"/>
              </a:cxn>
              <a:cxn ang="0">
                <a:pos x="T6" y="T7"/>
              </a:cxn>
            </a:cxnLst>
            <a:rect l="T8" t="T9" r="T10" b="T11"/>
            <a:pathLst>
              <a:path w="21600" h="21600">
                <a:moveTo>
                  <a:pt x="0" y="0"/>
                </a:moveTo>
                <a:lnTo>
                  <a:pt x="105" y="21600"/>
                </a:lnTo>
                <a:lnTo>
                  <a:pt x="21495" y="21600"/>
                </a:lnTo>
                <a:lnTo>
                  <a:pt x="21600" y="0"/>
                </a:lnTo>
                <a:close/>
              </a:path>
            </a:pathLst>
          </a:custGeom>
          <a:solidFill>
            <a:srgbClr val="C0C0C0"/>
          </a:solidFill>
          <a:ln w="12700" algn="ctr">
            <a:solidFill>
              <a:srgbClr val="C0C0C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23" name="AutoShape 14"/>
          <p:cNvSpPr>
            <a:spLocks noChangeArrowheads="1"/>
          </p:cNvSpPr>
          <p:nvPr>
            <p:custDataLst>
              <p:tags r:id="rId4"/>
            </p:custDataLst>
          </p:nvPr>
        </p:nvSpPr>
        <p:spPr bwMode="gray">
          <a:xfrm flipV="1">
            <a:off x="842285" y="5464596"/>
            <a:ext cx="7825619" cy="40558"/>
          </a:xfrm>
          <a:custGeom>
            <a:avLst/>
            <a:gdLst>
              <a:gd name="G0" fmla="+- 105 0 0"/>
              <a:gd name="G1" fmla="+- 21600 0 105"/>
              <a:gd name="G2" fmla="*/ 105 1 2"/>
              <a:gd name="G3" fmla="+- 21600 0 G2"/>
              <a:gd name="G4" fmla="+/ 105 21600 2"/>
              <a:gd name="G5" fmla="+/ G1 0 2"/>
              <a:gd name="G6" fmla="*/ 21600 21600 105"/>
              <a:gd name="G7" fmla="*/ G6 1 2"/>
              <a:gd name="G8" fmla="+- 21600 0 G7"/>
              <a:gd name="G9" fmla="*/ 21600 1 2"/>
              <a:gd name="G10" fmla="+- 105 0 G9"/>
              <a:gd name="G11" fmla="?: G10 G8 0"/>
              <a:gd name="G12" fmla="?: G10 G7 21600"/>
              <a:gd name="T0" fmla="*/ 21547 w 21600"/>
              <a:gd name="T1" fmla="*/ 10800 h 21600"/>
              <a:gd name="T2" fmla="*/ 10800 w 21600"/>
              <a:gd name="T3" fmla="*/ 21600 h 21600"/>
              <a:gd name="T4" fmla="*/ 53 w 21600"/>
              <a:gd name="T5" fmla="*/ 10800 h 21600"/>
              <a:gd name="T6" fmla="*/ 10800 w 21600"/>
              <a:gd name="T7" fmla="*/ 0 h 21600"/>
              <a:gd name="T8" fmla="*/ 1853 w 21600"/>
              <a:gd name="T9" fmla="*/ 1853 h 21600"/>
              <a:gd name="T10" fmla="*/ 19747 w 21600"/>
              <a:gd name="T11" fmla="*/ 19747 h 21600"/>
            </a:gdLst>
            <a:ahLst/>
            <a:cxnLst>
              <a:cxn ang="0">
                <a:pos x="T0" y="T1"/>
              </a:cxn>
              <a:cxn ang="0">
                <a:pos x="T2" y="T3"/>
              </a:cxn>
              <a:cxn ang="0">
                <a:pos x="T4" y="T5"/>
              </a:cxn>
              <a:cxn ang="0">
                <a:pos x="T6" y="T7"/>
              </a:cxn>
            </a:cxnLst>
            <a:rect l="T8" t="T9" r="T10" b="T11"/>
            <a:pathLst>
              <a:path w="21600" h="21600">
                <a:moveTo>
                  <a:pt x="0" y="0"/>
                </a:moveTo>
                <a:lnTo>
                  <a:pt x="105" y="21600"/>
                </a:lnTo>
                <a:lnTo>
                  <a:pt x="21495" y="21600"/>
                </a:lnTo>
                <a:lnTo>
                  <a:pt x="21600" y="0"/>
                </a:lnTo>
                <a:close/>
              </a:path>
            </a:pathLst>
          </a:custGeom>
          <a:solidFill>
            <a:srgbClr val="C0C0C0"/>
          </a:solidFill>
          <a:ln w="12700" algn="ctr">
            <a:solidFill>
              <a:srgbClr val="C0C0C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nvGrpSpPr>
          <p:cNvPr id="524" name="Group 253"/>
          <p:cNvGrpSpPr>
            <a:grpSpLocks/>
          </p:cNvGrpSpPr>
          <p:nvPr/>
        </p:nvGrpSpPr>
        <p:grpSpPr bwMode="auto">
          <a:xfrm>
            <a:off x="919574" y="2042572"/>
            <a:ext cx="2139775" cy="3184747"/>
            <a:chOff x="556" y="1119"/>
            <a:chExt cx="1503" cy="2237"/>
          </a:xfrm>
        </p:grpSpPr>
        <p:sp>
          <p:nvSpPr>
            <p:cNvPr id="668" name="Rectangle 29"/>
            <p:cNvSpPr>
              <a:spLocks noChangeArrowheads="1"/>
            </p:cNvSpPr>
            <p:nvPr>
              <p:custDataLst>
                <p:tags r:id="rId7"/>
              </p:custDataLst>
            </p:nvPr>
          </p:nvSpPr>
          <p:spPr bwMode="gray">
            <a:xfrm>
              <a:off x="726" y="1336"/>
              <a:ext cx="1164" cy="1723"/>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69" name="Rectangle 31"/>
            <p:cNvSpPr>
              <a:spLocks noChangeArrowheads="1"/>
            </p:cNvSpPr>
            <p:nvPr/>
          </p:nvSpPr>
          <p:spPr bwMode="gray">
            <a:xfrm>
              <a:off x="638" y="1196"/>
              <a:ext cx="1339" cy="118"/>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70" name="Rectangle 32"/>
            <p:cNvSpPr>
              <a:spLocks noChangeArrowheads="1"/>
            </p:cNvSpPr>
            <p:nvPr/>
          </p:nvSpPr>
          <p:spPr bwMode="gray">
            <a:xfrm>
              <a:off x="556" y="1119"/>
              <a:ext cx="1503" cy="59"/>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71" name="AutoShape 33"/>
            <p:cNvSpPr>
              <a:spLocks noChangeArrowheads="1"/>
            </p:cNvSpPr>
            <p:nvPr/>
          </p:nvSpPr>
          <p:spPr bwMode="gray">
            <a:xfrm>
              <a:off x="638" y="1314"/>
              <a:ext cx="1339" cy="21"/>
            </a:xfrm>
            <a:custGeom>
              <a:avLst/>
              <a:gdLst>
                <a:gd name="G0" fmla="+- 1561 0 0"/>
                <a:gd name="G1" fmla="+- 21600 0 1561"/>
                <a:gd name="G2" fmla="*/ 1561 1 2"/>
                <a:gd name="G3" fmla="+- 21600 0 G2"/>
                <a:gd name="G4" fmla="+/ 1561 21600 2"/>
                <a:gd name="G5" fmla="+/ G1 0 2"/>
                <a:gd name="G6" fmla="*/ 21600 21600 1561"/>
                <a:gd name="G7" fmla="*/ G6 1 2"/>
                <a:gd name="G8" fmla="+- 21600 0 G7"/>
                <a:gd name="G9" fmla="*/ 21600 1 2"/>
                <a:gd name="G10" fmla="+- 1561 0 G9"/>
                <a:gd name="G11" fmla="?: G10 G8 0"/>
                <a:gd name="G12" fmla="?: G10 G7 21600"/>
                <a:gd name="T0" fmla="*/ 20819 w 21600"/>
                <a:gd name="T1" fmla="*/ 10800 h 21600"/>
                <a:gd name="T2" fmla="*/ 10800 w 21600"/>
                <a:gd name="T3" fmla="*/ 21600 h 21600"/>
                <a:gd name="T4" fmla="*/ 781 w 21600"/>
                <a:gd name="T5" fmla="*/ 10800 h 21600"/>
                <a:gd name="T6" fmla="*/ 10800 w 21600"/>
                <a:gd name="T7" fmla="*/ 0 h 21600"/>
                <a:gd name="T8" fmla="*/ 2581 w 21600"/>
                <a:gd name="T9" fmla="*/ 2581 h 21600"/>
                <a:gd name="T10" fmla="*/ 19019 w 21600"/>
                <a:gd name="T11" fmla="*/ 19019 h 21600"/>
              </a:gdLst>
              <a:ahLst/>
              <a:cxnLst>
                <a:cxn ang="0">
                  <a:pos x="T0" y="T1"/>
                </a:cxn>
                <a:cxn ang="0">
                  <a:pos x="T2" y="T3"/>
                </a:cxn>
                <a:cxn ang="0">
                  <a:pos x="T4" y="T5"/>
                </a:cxn>
                <a:cxn ang="0">
                  <a:pos x="T6" y="T7"/>
                </a:cxn>
              </a:cxnLst>
              <a:rect l="T8" t="T9" r="T10" b="T11"/>
              <a:pathLst>
                <a:path w="21600" h="21600">
                  <a:moveTo>
                    <a:pt x="0" y="0"/>
                  </a:moveTo>
                  <a:lnTo>
                    <a:pt x="1561" y="21600"/>
                  </a:lnTo>
                  <a:lnTo>
                    <a:pt x="20039"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72" name="AutoShape 34"/>
            <p:cNvSpPr>
              <a:spLocks noChangeArrowheads="1"/>
            </p:cNvSpPr>
            <p:nvPr/>
          </p:nvSpPr>
          <p:spPr bwMode="gray">
            <a:xfrm>
              <a:off x="560" y="1178"/>
              <a:ext cx="1495" cy="20"/>
            </a:xfrm>
            <a:custGeom>
              <a:avLst/>
              <a:gdLst>
                <a:gd name="G0" fmla="+- 1335 0 0"/>
                <a:gd name="G1" fmla="+- 21600 0 1335"/>
                <a:gd name="G2" fmla="*/ 1335 1 2"/>
                <a:gd name="G3" fmla="+- 21600 0 G2"/>
                <a:gd name="G4" fmla="+/ 1335 21600 2"/>
                <a:gd name="G5" fmla="+/ G1 0 2"/>
                <a:gd name="G6" fmla="*/ 21600 21600 1335"/>
                <a:gd name="G7" fmla="*/ G6 1 2"/>
                <a:gd name="G8" fmla="+- 21600 0 G7"/>
                <a:gd name="G9" fmla="*/ 21600 1 2"/>
                <a:gd name="G10" fmla="+- 1335 0 G9"/>
                <a:gd name="G11" fmla="?: G10 G8 0"/>
                <a:gd name="G12" fmla="?: G10 G7 21600"/>
                <a:gd name="T0" fmla="*/ 20932 w 21600"/>
                <a:gd name="T1" fmla="*/ 10800 h 21600"/>
                <a:gd name="T2" fmla="*/ 10800 w 21600"/>
                <a:gd name="T3" fmla="*/ 21600 h 21600"/>
                <a:gd name="T4" fmla="*/ 668 w 21600"/>
                <a:gd name="T5" fmla="*/ 10800 h 21600"/>
                <a:gd name="T6" fmla="*/ 10800 w 21600"/>
                <a:gd name="T7" fmla="*/ 0 h 21600"/>
                <a:gd name="T8" fmla="*/ 2468 w 21600"/>
                <a:gd name="T9" fmla="*/ 2468 h 21600"/>
                <a:gd name="T10" fmla="*/ 19132 w 21600"/>
                <a:gd name="T11" fmla="*/ 19132 h 21600"/>
              </a:gdLst>
              <a:ahLst/>
              <a:cxnLst>
                <a:cxn ang="0">
                  <a:pos x="T0" y="T1"/>
                </a:cxn>
                <a:cxn ang="0">
                  <a:pos x="T2" y="T3"/>
                </a:cxn>
                <a:cxn ang="0">
                  <a:pos x="T4" y="T5"/>
                </a:cxn>
                <a:cxn ang="0">
                  <a:pos x="T6" y="T7"/>
                </a:cxn>
              </a:cxnLst>
              <a:rect l="T8" t="T9" r="T10" b="T11"/>
              <a:pathLst>
                <a:path w="21600" h="21600">
                  <a:moveTo>
                    <a:pt x="0" y="0"/>
                  </a:moveTo>
                  <a:lnTo>
                    <a:pt x="1335" y="21600"/>
                  </a:lnTo>
                  <a:lnTo>
                    <a:pt x="20265" y="21600"/>
                  </a:lnTo>
                  <a:lnTo>
                    <a:pt x="21600" y="0"/>
                  </a:lnTo>
                  <a:close/>
                </a:path>
              </a:pathLst>
            </a:cu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nvGrpSpPr>
            <p:cNvPr id="673" name="Group 50"/>
            <p:cNvGrpSpPr>
              <a:grpSpLocks/>
            </p:cNvGrpSpPr>
            <p:nvPr/>
          </p:nvGrpSpPr>
          <p:grpSpPr bwMode="auto">
            <a:xfrm>
              <a:off x="638" y="3065"/>
              <a:ext cx="1339" cy="188"/>
              <a:chOff x="3962" y="3163"/>
              <a:chExt cx="1029" cy="241"/>
            </a:xfrm>
          </p:grpSpPr>
          <p:sp>
            <p:nvSpPr>
              <p:cNvPr id="740" name="Rectangle 51"/>
              <p:cNvSpPr>
                <a:spLocks noChangeArrowheads="1"/>
              </p:cNvSpPr>
              <p:nvPr/>
            </p:nvSpPr>
            <p:spPr bwMode="gray">
              <a:xfrm flipV="1">
                <a:off x="3962" y="3198"/>
                <a:ext cx="1029" cy="206"/>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41" name="AutoShape 52"/>
              <p:cNvSpPr>
                <a:spLocks noChangeArrowheads="1"/>
              </p:cNvSpPr>
              <p:nvPr/>
            </p:nvSpPr>
            <p:spPr bwMode="gray">
              <a:xfrm flipV="1">
                <a:off x="3962" y="3163"/>
                <a:ext cx="1029" cy="35"/>
              </a:xfrm>
              <a:custGeom>
                <a:avLst/>
                <a:gdLst>
                  <a:gd name="G0" fmla="+- 1561 0 0"/>
                  <a:gd name="G1" fmla="+- 21600 0 1561"/>
                  <a:gd name="G2" fmla="*/ 1561 1 2"/>
                  <a:gd name="G3" fmla="+- 21600 0 G2"/>
                  <a:gd name="G4" fmla="+/ 1561 21600 2"/>
                  <a:gd name="G5" fmla="+/ G1 0 2"/>
                  <a:gd name="G6" fmla="*/ 21600 21600 1561"/>
                  <a:gd name="G7" fmla="*/ G6 1 2"/>
                  <a:gd name="G8" fmla="+- 21600 0 G7"/>
                  <a:gd name="G9" fmla="*/ 21600 1 2"/>
                  <a:gd name="G10" fmla="+- 1561 0 G9"/>
                  <a:gd name="G11" fmla="?: G10 G8 0"/>
                  <a:gd name="G12" fmla="?: G10 G7 21600"/>
                  <a:gd name="T0" fmla="*/ 20819 w 21600"/>
                  <a:gd name="T1" fmla="*/ 10800 h 21600"/>
                  <a:gd name="T2" fmla="*/ 10800 w 21600"/>
                  <a:gd name="T3" fmla="*/ 21600 h 21600"/>
                  <a:gd name="T4" fmla="*/ 781 w 21600"/>
                  <a:gd name="T5" fmla="*/ 10800 h 21600"/>
                  <a:gd name="T6" fmla="*/ 10800 w 21600"/>
                  <a:gd name="T7" fmla="*/ 0 h 21600"/>
                  <a:gd name="T8" fmla="*/ 2581 w 21600"/>
                  <a:gd name="T9" fmla="*/ 2581 h 21600"/>
                  <a:gd name="T10" fmla="*/ 19019 w 21600"/>
                  <a:gd name="T11" fmla="*/ 19019 h 21600"/>
                </a:gdLst>
                <a:ahLst/>
                <a:cxnLst>
                  <a:cxn ang="0">
                    <a:pos x="T0" y="T1"/>
                  </a:cxn>
                  <a:cxn ang="0">
                    <a:pos x="T2" y="T3"/>
                  </a:cxn>
                  <a:cxn ang="0">
                    <a:pos x="T4" y="T5"/>
                  </a:cxn>
                  <a:cxn ang="0">
                    <a:pos x="T6" y="T7"/>
                  </a:cxn>
                </a:cxnLst>
                <a:rect l="T8" t="T9" r="T10" b="T11"/>
                <a:pathLst>
                  <a:path w="21600" h="21600">
                    <a:moveTo>
                      <a:pt x="0" y="0"/>
                    </a:moveTo>
                    <a:lnTo>
                      <a:pt x="1561" y="21600"/>
                    </a:lnTo>
                    <a:lnTo>
                      <a:pt x="20039"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74" name="Group 53"/>
            <p:cNvGrpSpPr>
              <a:grpSpLocks/>
            </p:cNvGrpSpPr>
            <p:nvPr/>
          </p:nvGrpSpPr>
          <p:grpSpPr bwMode="auto">
            <a:xfrm>
              <a:off x="556" y="3248"/>
              <a:ext cx="1503" cy="108"/>
              <a:chOff x="3899" y="3398"/>
              <a:chExt cx="1155" cy="138"/>
            </a:xfrm>
          </p:grpSpPr>
          <p:sp>
            <p:nvSpPr>
              <p:cNvPr id="738" name="Rectangle 54"/>
              <p:cNvSpPr>
                <a:spLocks noChangeArrowheads="1"/>
              </p:cNvSpPr>
              <p:nvPr/>
            </p:nvSpPr>
            <p:spPr bwMode="gray">
              <a:xfrm flipV="1">
                <a:off x="3899" y="3433"/>
                <a:ext cx="1155" cy="103"/>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9" name="AutoShape 55"/>
              <p:cNvSpPr>
                <a:spLocks noChangeArrowheads="1"/>
              </p:cNvSpPr>
              <p:nvPr/>
            </p:nvSpPr>
            <p:spPr bwMode="gray">
              <a:xfrm flipV="1">
                <a:off x="3902" y="3398"/>
                <a:ext cx="1149" cy="35"/>
              </a:xfrm>
              <a:custGeom>
                <a:avLst/>
                <a:gdLst>
                  <a:gd name="G0" fmla="+- 1335 0 0"/>
                  <a:gd name="G1" fmla="+- 21600 0 1335"/>
                  <a:gd name="G2" fmla="*/ 1335 1 2"/>
                  <a:gd name="G3" fmla="+- 21600 0 G2"/>
                  <a:gd name="G4" fmla="+/ 1335 21600 2"/>
                  <a:gd name="G5" fmla="+/ G1 0 2"/>
                  <a:gd name="G6" fmla="*/ 21600 21600 1335"/>
                  <a:gd name="G7" fmla="*/ G6 1 2"/>
                  <a:gd name="G8" fmla="+- 21600 0 G7"/>
                  <a:gd name="G9" fmla="*/ 21600 1 2"/>
                  <a:gd name="G10" fmla="+- 1335 0 G9"/>
                  <a:gd name="G11" fmla="?: G10 G8 0"/>
                  <a:gd name="G12" fmla="?: G10 G7 21600"/>
                  <a:gd name="T0" fmla="*/ 20932 w 21600"/>
                  <a:gd name="T1" fmla="*/ 10800 h 21600"/>
                  <a:gd name="T2" fmla="*/ 10800 w 21600"/>
                  <a:gd name="T3" fmla="*/ 21600 h 21600"/>
                  <a:gd name="T4" fmla="*/ 668 w 21600"/>
                  <a:gd name="T5" fmla="*/ 10800 h 21600"/>
                  <a:gd name="T6" fmla="*/ 10800 w 21600"/>
                  <a:gd name="T7" fmla="*/ 0 h 21600"/>
                  <a:gd name="T8" fmla="*/ 2468 w 21600"/>
                  <a:gd name="T9" fmla="*/ 2468 h 21600"/>
                  <a:gd name="T10" fmla="*/ 19132 w 21600"/>
                  <a:gd name="T11" fmla="*/ 19132 h 21600"/>
                </a:gdLst>
                <a:ahLst/>
                <a:cxnLst>
                  <a:cxn ang="0">
                    <a:pos x="T0" y="T1"/>
                  </a:cxn>
                  <a:cxn ang="0">
                    <a:pos x="T2" y="T3"/>
                  </a:cxn>
                  <a:cxn ang="0">
                    <a:pos x="T4" y="T5"/>
                  </a:cxn>
                  <a:cxn ang="0">
                    <a:pos x="T6" y="T7"/>
                  </a:cxn>
                </a:cxnLst>
                <a:rect l="T8" t="T9" r="T10" b="T11"/>
                <a:pathLst>
                  <a:path w="21600" h="21600">
                    <a:moveTo>
                      <a:pt x="0" y="0"/>
                    </a:moveTo>
                    <a:lnTo>
                      <a:pt x="1335" y="21600"/>
                    </a:lnTo>
                    <a:lnTo>
                      <a:pt x="20265"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75" name="Group 57"/>
            <p:cNvGrpSpPr>
              <a:grpSpLocks/>
            </p:cNvGrpSpPr>
            <p:nvPr/>
          </p:nvGrpSpPr>
          <p:grpSpPr bwMode="auto">
            <a:xfrm>
              <a:off x="730" y="1344"/>
              <a:ext cx="1158" cy="577"/>
              <a:chOff x="686" y="1449"/>
              <a:chExt cx="1158" cy="550"/>
            </a:xfrm>
          </p:grpSpPr>
          <p:grpSp>
            <p:nvGrpSpPr>
              <p:cNvPr id="718" name="Group 58"/>
              <p:cNvGrpSpPr>
                <a:grpSpLocks/>
              </p:cNvGrpSpPr>
              <p:nvPr/>
            </p:nvGrpSpPr>
            <p:grpSpPr bwMode="auto">
              <a:xfrm>
                <a:off x="686" y="1449"/>
                <a:ext cx="1158" cy="137"/>
                <a:chOff x="686" y="1449"/>
                <a:chExt cx="1158" cy="137"/>
              </a:xfrm>
            </p:grpSpPr>
            <p:sp>
              <p:nvSpPr>
                <p:cNvPr id="734" name="Rectangle 59"/>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5" name="Rectangle 60"/>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6" name="Rectangle 61"/>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7" name="Rectangle 62"/>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719" name="Group 63"/>
              <p:cNvGrpSpPr>
                <a:grpSpLocks/>
              </p:cNvGrpSpPr>
              <p:nvPr/>
            </p:nvGrpSpPr>
            <p:grpSpPr bwMode="auto">
              <a:xfrm flipH="1">
                <a:off x="1488" y="1590"/>
                <a:ext cx="356" cy="137"/>
                <a:chOff x="1488" y="1449"/>
                <a:chExt cx="356" cy="137"/>
              </a:xfrm>
            </p:grpSpPr>
            <p:sp>
              <p:nvSpPr>
                <p:cNvPr id="730" name="Rectangle 64"/>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1" name="Rectangle 65"/>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2" name="Rectangle 66"/>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33" name="Rectangle 67"/>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720" name="Group 68"/>
              <p:cNvGrpSpPr>
                <a:grpSpLocks/>
              </p:cNvGrpSpPr>
              <p:nvPr/>
            </p:nvGrpSpPr>
            <p:grpSpPr bwMode="auto">
              <a:xfrm>
                <a:off x="686" y="1721"/>
                <a:ext cx="1158" cy="137"/>
                <a:chOff x="686" y="1449"/>
                <a:chExt cx="1158" cy="137"/>
              </a:xfrm>
            </p:grpSpPr>
            <p:sp>
              <p:nvSpPr>
                <p:cNvPr id="726" name="Rectangle 69"/>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27" name="Rectangle 70"/>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28" name="Rectangle 71"/>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29" name="Rectangle 72"/>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721" name="Group 73"/>
              <p:cNvGrpSpPr>
                <a:grpSpLocks/>
              </p:cNvGrpSpPr>
              <p:nvPr/>
            </p:nvGrpSpPr>
            <p:grpSpPr bwMode="auto">
              <a:xfrm flipH="1">
                <a:off x="1488" y="1862"/>
                <a:ext cx="356" cy="137"/>
                <a:chOff x="1488" y="1449"/>
                <a:chExt cx="356" cy="137"/>
              </a:xfrm>
            </p:grpSpPr>
            <p:sp>
              <p:nvSpPr>
                <p:cNvPr id="722" name="Rectangle 74"/>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23" name="Rectangle 75"/>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24" name="Rectangle 76"/>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25" name="Rectangle 77"/>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grpSp>
          <p:nvGrpSpPr>
            <p:cNvPr id="676" name="Group 78"/>
            <p:cNvGrpSpPr>
              <a:grpSpLocks/>
            </p:cNvGrpSpPr>
            <p:nvPr/>
          </p:nvGrpSpPr>
          <p:grpSpPr bwMode="auto">
            <a:xfrm>
              <a:off x="730" y="1913"/>
              <a:ext cx="1158" cy="577"/>
              <a:chOff x="686" y="1449"/>
              <a:chExt cx="1158" cy="550"/>
            </a:xfrm>
          </p:grpSpPr>
          <p:grpSp>
            <p:nvGrpSpPr>
              <p:cNvPr id="698" name="Group 79"/>
              <p:cNvGrpSpPr>
                <a:grpSpLocks/>
              </p:cNvGrpSpPr>
              <p:nvPr/>
            </p:nvGrpSpPr>
            <p:grpSpPr bwMode="auto">
              <a:xfrm>
                <a:off x="686" y="1449"/>
                <a:ext cx="1158" cy="137"/>
                <a:chOff x="686" y="1449"/>
                <a:chExt cx="1158" cy="137"/>
              </a:xfrm>
            </p:grpSpPr>
            <p:sp>
              <p:nvSpPr>
                <p:cNvPr id="714" name="Rectangle 80"/>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15" name="Rectangle 81"/>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16" name="Rectangle 82"/>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17" name="Rectangle 83"/>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99" name="Group 84"/>
              <p:cNvGrpSpPr>
                <a:grpSpLocks/>
              </p:cNvGrpSpPr>
              <p:nvPr/>
            </p:nvGrpSpPr>
            <p:grpSpPr bwMode="auto">
              <a:xfrm flipH="1">
                <a:off x="1488" y="1590"/>
                <a:ext cx="356" cy="137"/>
                <a:chOff x="1488" y="1449"/>
                <a:chExt cx="356" cy="137"/>
              </a:xfrm>
            </p:grpSpPr>
            <p:sp>
              <p:nvSpPr>
                <p:cNvPr id="710" name="Rectangle 85"/>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11" name="Rectangle 86"/>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12" name="Rectangle 87"/>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13" name="Rectangle 88"/>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700" name="Group 89"/>
              <p:cNvGrpSpPr>
                <a:grpSpLocks/>
              </p:cNvGrpSpPr>
              <p:nvPr/>
            </p:nvGrpSpPr>
            <p:grpSpPr bwMode="auto">
              <a:xfrm>
                <a:off x="686" y="1721"/>
                <a:ext cx="1158" cy="137"/>
                <a:chOff x="686" y="1449"/>
                <a:chExt cx="1158" cy="137"/>
              </a:xfrm>
            </p:grpSpPr>
            <p:sp>
              <p:nvSpPr>
                <p:cNvPr id="706" name="Rectangle 90"/>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07" name="Rectangle 91"/>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08" name="Rectangle 92"/>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09" name="Rectangle 93"/>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701" name="Group 94"/>
              <p:cNvGrpSpPr>
                <a:grpSpLocks/>
              </p:cNvGrpSpPr>
              <p:nvPr/>
            </p:nvGrpSpPr>
            <p:grpSpPr bwMode="auto">
              <a:xfrm flipH="1">
                <a:off x="1488" y="1862"/>
                <a:ext cx="356" cy="137"/>
                <a:chOff x="1488" y="1449"/>
                <a:chExt cx="356" cy="137"/>
              </a:xfrm>
            </p:grpSpPr>
            <p:sp>
              <p:nvSpPr>
                <p:cNvPr id="702" name="Rectangle 95"/>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03" name="Rectangle 96"/>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04" name="Rectangle 97"/>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705" name="Rectangle 98"/>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grpSp>
          <p:nvGrpSpPr>
            <p:cNvPr id="677" name="Group 99"/>
            <p:cNvGrpSpPr>
              <a:grpSpLocks/>
            </p:cNvGrpSpPr>
            <p:nvPr/>
          </p:nvGrpSpPr>
          <p:grpSpPr bwMode="auto">
            <a:xfrm>
              <a:off x="730" y="2482"/>
              <a:ext cx="1158" cy="577"/>
              <a:chOff x="686" y="1449"/>
              <a:chExt cx="1158" cy="550"/>
            </a:xfrm>
          </p:grpSpPr>
          <p:grpSp>
            <p:nvGrpSpPr>
              <p:cNvPr id="678" name="Group 100"/>
              <p:cNvGrpSpPr>
                <a:grpSpLocks/>
              </p:cNvGrpSpPr>
              <p:nvPr/>
            </p:nvGrpSpPr>
            <p:grpSpPr bwMode="auto">
              <a:xfrm>
                <a:off x="686" y="1449"/>
                <a:ext cx="1158" cy="137"/>
                <a:chOff x="686" y="1449"/>
                <a:chExt cx="1158" cy="137"/>
              </a:xfrm>
            </p:grpSpPr>
            <p:sp>
              <p:nvSpPr>
                <p:cNvPr id="694" name="Rectangle 101"/>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95" name="Rectangle 102"/>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96" name="Rectangle 103"/>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97" name="Rectangle 104"/>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79" name="Group 105"/>
              <p:cNvGrpSpPr>
                <a:grpSpLocks/>
              </p:cNvGrpSpPr>
              <p:nvPr/>
            </p:nvGrpSpPr>
            <p:grpSpPr bwMode="auto">
              <a:xfrm flipH="1">
                <a:off x="1488" y="1590"/>
                <a:ext cx="356" cy="137"/>
                <a:chOff x="1488" y="1449"/>
                <a:chExt cx="356" cy="137"/>
              </a:xfrm>
            </p:grpSpPr>
            <p:sp>
              <p:nvSpPr>
                <p:cNvPr id="690" name="Rectangle 106"/>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91" name="Rectangle 107"/>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92" name="Rectangle 108"/>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93" name="Rectangle 109"/>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80" name="Group 110"/>
              <p:cNvGrpSpPr>
                <a:grpSpLocks/>
              </p:cNvGrpSpPr>
              <p:nvPr/>
            </p:nvGrpSpPr>
            <p:grpSpPr bwMode="auto">
              <a:xfrm>
                <a:off x="686" y="1721"/>
                <a:ext cx="1158" cy="137"/>
                <a:chOff x="686" y="1449"/>
                <a:chExt cx="1158" cy="137"/>
              </a:xfrm>
            </p:grpSpPr>
            <p:sp>
              <p:nvSpPr>
                <p:cNvPr id="686" name="Rectangle 111"/>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87" name="Rectangle 112"/>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88" name="Rectangle 113"/>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89" name="Rectangle 114"/>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81" name="Group 115"/>
              <p:cNvGrpSpPr>
                <a:grpSpLocks/>
              </p:cNvGrpSpPr>
              <p:nvPr/>
            </p:nvGrpSpPr>
            <p:grpSpPr bwMode="auto">
              <a:xfrm flipH="1">
                <a:off x="1488" y="1862"/>
                <a:ext cx="356" cy="137"/>
                <a:chOff x="1488" y="1449"/>
                <a:chExt cx="356" cy="137"/>
              </a:xfrm>
            </p:grpSpPr>
            <p:sp>
              <p:nvSpPr>
                <p:cNvPr id="682" name="Rectangle 116"/>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83" name="Rectangle 117"/>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84" name="Rectangle 118"/>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85" name="Rectangle 119"/>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grpSp>
      <p:grpSp>
        <p:nvGrpSpPr>
          <p:cNvPr id="525" name="Group 254"/>
          <p:cNvGrpSpPr>
            <a:grpSpLocks/>
          </p:cNvGrpSpPr>
          <p:nvPr/>
        </p:nvGrpSpPr>
        <p:grpSpPr bwMode="auto">
          <a:xfrm>
            <a:off x="3685917" y="2042572"/>
            <a:ext cx="2138350" cy="3184747"/>
            <a:chOff x="2071" y="1119"/>
            <a:chExt cx="1502" cy="2237"/>
          </a:xfrm>
        </p:grpSpPr>
        <p:sp>
          <p:nvSpPr>
            <p:cNvPr id="594" name="Rectangle 23"/>
            <p:cNvSpPr>
              <a:spLocks noChangeArrowheads="1"/>
            </p:cNvSpPr>
            <p:nvPr>
              <p:custDataLst>
                <p:tags r:id="rId6"/>
              </p:custDataLst>
            </p:nvPr>
          </p:nvSpPr>
          <p:spPr bwMode="gray">
            <a:xfrm>
              <a:off x="2240" y="1336"/>
              <a:ext cx="1164" cy="1723"/>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95" name="Rectangle 25"/>
            <p:cNvSpPr>
              <a:spLocks noChangeArrowheads="1"/>
            </p:cNvSpPr>
            <p:nvPr/>
          </p:nvSpPr>
          <p:spPr bwMode="gray">
            <a:xfrm>
              <a:off x="2153" y="1196"/>
              <a:ext cx="1338" cy="118"/>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96" name="Rectangle 26"/>
            <p:cNvSpPr>
              <a:spLocks noChangeArrowheads="1"/>
            </p:cNvSpPr>
            <p:nvPr/>
          </p:nvSpPr>
          <p:spPr bwMode="gray">
            <a:xfrm>
              <a:off x="2071" y="1119"/>
              <a:ext cx="1502" cy="59"/>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97" name="AutoShape 27"/>
            <p:cNvSpPr>
              <a:spLocks noChangeArrowheads="1"/>
            </p:cNvSpPr>
            <p:nvPr/>
          </p:nvSpPr>
          <p:spPr bwMode="gray">
            <a:xfrm>
              <a:off x="2153" y="1314"/>
              <a:ext cx="1338" cy="21"/>
            </a:xfrm>
            <a:custGeom>
              <a:avLst/>
              <a:gdLst>
                <a:gd name="G0" fmla="+- 1561 0 0"/>
                <a:gd name="G1" fmla="+- 21600 0 1561"/>
                <a:gd name="G2" fmla="*/ 1561 1 2"/>
                <a:gd name="G3" fmla="+- 21600 0 G2"/>
                <a:gd name="G4" fmla="+/ 1561 21600 2"/>
                <a:gd name="G5" fmla="+/ G1 0 2"/>
                <a:gd name="G6" fmla="*/ 21600 21600 1561"/>
                <a:gd name="G7" fmla="*/ G6 1 2"/>
                <a:gd name="G8" fmla="+- 21600 0 G7"/>
                <a:gd name="G9" fmla="*/ 21600 1 2"/>
                <a:gd name="G10" fmla="+- 1561 0 G9"/>
                <a:gd name="G11" fmla="?: G10 G8 0"/>
                <a:gd name="G12" fmla="?: G10 G7 21600"/>
                <a:gd name="T0" fmla="*/ 20819 w 21600"/>
                <a:gd name="T1" fmla="*/ 10800 h 21600"/>
                <a:gd name="T2" fmla="*/ 10800 w 21600"/>
                <a:gd name="T3" fmla="*/ 21600 h 21600"/>
                <a:gd name="T4" fmla="*/ 781 w 21600"/>
                <a:gd name="T5" fmla="*/ 10800 h 21600"/>
                <a:gd name="T6" fmla="*/ 10800 w 21600"/>
                <a:gd name="T7" fmla="*/ 0 h 21600"/>
                <a:gd name="T8" fmla="*/ 2581 w 21600"/>
                <a:gd name="T9" fmla="*/ 2581 h 21600"/>
                <a:gd name="T10" fmla="*/ 19019 w 21600"/>
                <a:gd name="T11" fmla="*/ 19019 h 21600"/>
              </a:gdLst>
              <a:ahLst/>
              <a:cxnLst>
                <a:cxn ang="0">
                  <a:pos x="T0" y="T1"/>
                </a:cxn>
                <a:cxn ang="0">
                  <a:pos x="T2" y="T3"/>
                </a:cxn>
                <a:cxn ang="0">
                  <a:pos x="T4" y="T5"/>
                </a:cxn>
                <a:cxn ang="0">
                  <a:pos x="T6" y="T7"/>
                </a:cxn>
              </a:cxnLst>
              <a:rect l="T8" t="T9" r="T10" b="T11"/>
              <a:pathLst>
                <a:path w="21600" h="21600">
                  <a:moveTo>
                    <a:pt x="0" y="0"/>
                  </a:moveTo>
                  <a:lnTo>
                    <a:pt x="1561" y="21600"/>
                  </a:lnTo>
                  <a:lnTo>
                    <a:pt x="20039"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98" name="AutoShape 28"/>
            <p:cNvSpPr>
              <a:spLocks noChangeArrowheads="1"/>
            </p:cNvSpPr>
            <p:nvPr/>
          </p:nvSpPr>
          <p:spPr bwMode="gray">
            <a:xfrm>
              <a:off x="2075" y="1178"/>
              <a:ext cx="1494" cy="20"/>
            </a:xfrm>
            <a:custGeom>
              <a:avLst/>
              <a:gdLst>
                <a:gd name="G0" fmla="+- 1335 0 0"/>
                <a:gd name="G1" fmla="+- 21600 0 1335"/>
                <a:gd name="G2" fmla="*/ 1335 1 2"/>
                <a:gd name="G3" fmla="+- 21600 0 G2"/>
                <a:gd name="G4" fmla="+/ 1335 21600 2"/>
                <a:gd name="G5" fmla="+/ G1 0 2"/>
                <a:gd name="G6" fmla="*/ 21600 21600 1335"/>
                <a:gd name="G7" fmla="*/ G6 1 2"/>
                <a:gd name="G8" fmla="+- 21600 0 G7"/>
                <a:gd name="G9" fmla="*/ 21600 1 2"/>
                <a:gd name="G10" fmla="+- 1335 0 G9"/>
                <a:gd name="G11" fmla="?: G10 G8 0"/>
                <a:gd name="G12" fmla="?: G10 G7 21600"/>
                <a:gd name="T0" fmla="*/ 20932 w 21600"/>
                <a:gd name="T1" fmla="*/ 10800 h 21600"/>
                <a:gd name="T2" fmla="*/ 10800 w 21600"/>
                <a:gd name="T3" fmla="*/ 21600 h 21600"/>
                <a:gd name="T4" fmla="*/ 668 w 21600"/>
                <a:gd name="T5" fmla="*/ 10800 h 21600"/>
                <a:gd name="T6" fmla="*/ 10800 w 21600"/>
                <a:gd name="T7" fmla="*/ 0 h 21600"/>
                <a:gd name="T8" fmla="*/ 2468 w 21600"/>
                <a:gd name="T9" fmla="*/ 2468 h 21600"/>
                <a:gd name="T10" fmla="*/ 19132 w 21600"/>
                <a:gd name="T11" fmla="*/ 19132 h 21600"/>
              </a:gdLst>
              <a:ahLst/>
              <a:cxnLst>
                <a:cxn ang="0">
                  <a:pos x="T0" y="T1"/>
                </a:cxn>
                <a:cxn ang="0">
                  <a:pos x="T2" y="T3"/>
                </a:cxn>
                <a:cxn ang="0">
                  <a:pos x="T4" y="T5"/>
                </a:cxn>
                <a:cxn ang="0">
                  <a:pos x="T6" y="T7"/>
                </a:cxn>
              </a:cxnLst>
              <a:rect l="T8" t="T9" r="T10" b="T11"/>
              <a:pathLst>
                <a:path w="21600" h="21600">
                  <a:moveTo>
                    <a:pt x="0" y="0"/>
                  </a:moveTo>
                  <a:lnTo>
                    <a:pt x="1335" y="21600"/>
                  </a:lnTo>
                  <a:lnTo>
                    <a:pt x="20265" y="21600"/>
                  </a:lnTo>
                  <a:lnTo>
                    <a:pt x="21600" y="0"/>
                  </a:lnTo>
                  <a:close/>
                </a:path>
              </a:pathLst>
            </a:cu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nvGrpSpPr>
            <p:cNvPr id="599" name="Group 43"/>
            <p:cNvGrpSpPr>
              <a:grpSpLocks/>
            </p:cNvGrpSpPr>
            <p:nvPr/>
          </p:nvGrpSpPr>
          <p:grpSpPr bwMode="auto">
            <a:xfrm>
              <a:off x="2153" y="3065"/>
              <a:ext cx="1338" cy="188"/>
              <a:chOff x="3962" y="3163"/>
              <a:chExt cx="1029" cy="241"/>
            </a:xfrm>
          </p:grpSpPr>
          <p:sp>
            <p:nvSpPr>
              <p:cNvPr id="666" name="Rectangle 44"/>
              <p:cNvSpPr>
                <a:spLocks noChangeArrowheads="1"/>
              </p:cNvSpPr>
              <p:nvPr/>
            </p:nvSpPr>
            <p:spPr bwMode="gray">
              <a:xfrm flipV="1">
                <a:off x="3962" y="3198"/>
                <a:ext cx="1029" cy="206"/>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67" name="AutoShape 45"/>
              <p:cNvSpPr>
                <a:spLocks noChangeArrowheads="1"/>
              </p:cNvSpPr>
              <p:nvPr/>
            </p:nvSpPr>
            <p:spPr bwMode="gray">
              <a:xfrm flipV="1">
                <a:off x="3962" y="3163"/>
                <a:ext cx="1029" cy="35"/>
              </a:xfrm>
              <a:custGeom>
                <a:avLst/>
                <a:gdLst>
                  <a:gd name="G0" fmla="+- 1561 0 0"/>
                  <a:gd name="G1" fmla="+- 21600 0 1561"/>
                  <a:gd name="G2" fmla="*/ 1561 1 2"/>
                  <a:gd name="G3" fmla="+- 21600 0 G2"/>
                  <a:gd name="G4" fmla="+/ 1561 21600 2"/>
                  <a:gd name="G5" fmla="+/ G1 0 2"/>
                  <a:gd name="G6" fmla="*/ 21600 21600 1561"/>
                  <a:gd name="G7" fmla="*/ G6 1 2"/>
                  <a:gd name="G8" fmla="+- 21600 0 G7"/>
                  <a:gd name="G9" fmla="*/ 21600 1 2"/>
                  <a:gd name="G10" fmla="+- 1561 0 G9"/>
                  <a:gd name="G11" fmla="?: G10 G8 0"/>
                  <a:gd name="G12" fmla="?: G10 G7 21600"/>
                  <a:gd name="T0" fmla="*/ 20819 w 21600"/>
                  <a:gd name="T1" fmla="*/ 10800 h 21600"/>
                  <a:gd name="T2" fmla="*/ 10800 w 21600"/>
                  <a:gd name="T3" fmla="*/ 21600 h 21600"/>
                  <a:gd name="T4" fmla="*/ 781 w 21600"/>
                  <a:gd name="T5" fmla="*/ 10800 h 21600"/>
                  <a:gd name="T6" fmla="*/ 10800 w 21600"/>
                  <a:gd name="T7" fmla="*/ 0 h 21600"/>
                  <a:gd name="T8" fmla="*/ 2581 w 21600"/>
                  <a:gd name="T9" fmla="*/ 2581 h 21600"/>
                  <a:gd name="T10" fmla="*/ 19019 w 21600"/>
                  <a:gd name="T11" fmla="*/ 19019 h 21600"/>
                </a:gdLst>
                <a:ahLst/>
                <a:cxnLst>
                  <a:cxn ang="0">
                    <a:pos x="T0" y="T1"/>
                  </a:cxn>
                  <a:cxn ang="0">
                    <a:pos x="T2" y="T3"/>
                  </a:cxn>
                  <a:cxn ang="0">
                    <a:pos x="T4" y="T5"/>
                  </a:cxn>
                  <a:cxn ang="0">
                    <a:pos x="T6" y="T7"/>
                  </a:cxn>
                </a:cxnLst>
                <a:rect l="T8" t="T9" r="T10" b="T11"/>
                <a:pathLst>
                  <a:path w="21600" h="21600">
                    <a:moveTo>
                      <a:pt x="0" y="0"/>
                    </a:moveTo>
                    <a:lnTo>
                      <a:pt x="1561" y="21600"/>
                    </a:lnTo>
                    <a:lnTo>
                      <a:pt x="20039"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00" name="Group 46"/>
            <p:cNvGrpSpPr>
              <a:grpSpLocks/>
            </p:cNvGrpSpPr>
            <p:nvPr/>
          </p:nvGrpSpPr>
          <p:grpSpPr bwMode="auto">
            <a:xfrm>
              <a:off x="2071" y="3248"/>
              <a:ext cx="1502" cy="108"/>
              <a:chOff x="3899" y="3398"/>
              <a:chExt cx="1155" cy="138"/>
            </a:xfrm>
          </p:grpSpPr>
          <p:sp>
            <p:nvSpPr>
              <p:cNvPr id="664" name="Rectangle 47"/>
              <p:cNvSpPr>
                <a:spLocks noChangeArrowheads="1"/>
              </p:cNvSpPr>
              <p:nvPr/>
            </p:nvSpPr>
            <p:spPr bwMode="gray">
              <a:xfrm flipV="1">
                <a:off x="3899" y="3433"/>
                <a:ext cx="1155" cy="103"/>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65" name="AutoShape 48"/>
              <p:cNvSpPr>
                <a:spLocks noChangeArrowheads="1"/>
              </p:cNvSpPr>
              <p:nvPr/>
            </p:nvSpPr>
            <p:spPr bwMode="gray">
              <a:xfrm flipV="1">
                <a:off x="3902" y="3398"/>
                <a:ext cx="1149" cy="35"/>
              </a:xfrm>
              <a:custGeom>
                <a:avLst/>
                <a:gdLst>
                  <a:gd name="G0" fmla="+- 1335 0 0"/>
                  <a:gd name="G1" fmla="+- 21600 0 1335"/>
                  <a:gd name="G2" fmla="*/ 1335 1 2"/>
                  <a:gd name="G3" fmla="+- 21600 0 G2"/>
                  <a:gd name="G4" fmla="+/ 1335 21600 2"/>
                  <a:gd name="G5" fmla="+/ G1 0 2"/>
                  <a:gd name="G6" fmla="*/ 21600 21600 1335"/>
                  <a:gd name="G7" fmla="*/ G6 1 2"/>
                  <a:gd name="G8" fmla="+- 21600 0 G7"/>
                  <a:gd name="G9" fmla="*/ 21600 1 2"/>
                  <a:gd name="G10" fmla="+- 1335 0 G9"/>
                  <a:gd name="G11" fmla="?: G10 G8 0"/>
                  <a:gd name="G12" fmla="?: G10 G7 21600"/>
                  <a:gd name="T0" fmla="*/ 20932 w 21600"/>
                  <a:gd name="T1" fmla="*/ 10800 h 21600"/>
                  <a:gd name="T2" fmla="*/ 10800 w 21600"/>
                  <a:gd name="T3" fmla="*/ 21600 h 21600"/>
                  <a:gd name="T4" fmla="*/ 668 w 21600"/>
                  <a:gd name="T5" fmla="*/ 10800 h 21600"/>
                  <a:gd name="T6" fmla="*/ 10800 w 21600"/>
                  <a:gd name="T7" fmla="*/ 0 h 21600"/>
                  <a:gd name="T8" fmla="*/ 2468 w 21600"/>
                  <a:gd name="T9" fmla="*/ 2468 h 21600"/>
                  <a:gd name="T10" fmla="*/ 19132 w 21600"/>
                  <a:gd name="T11" fmla="*/ 19132 h 21600"/>
                </a:gdLst>
                <a:ahLst/>
                <a:cxnLst>
                  <a:cxn ang="0">
                    <a:pos x="T0" y="T1"/>
                  </a:cxn>
                  <a:cxn ang="0">
                    <a:pos x="T2" y="T3"/>
                  </a:cxn>
                  <a:cxn ang="0">
                    <a:pos x="T4" y="T5"/>
                  </a:cxn>
                  <a:cxn ang="0">
                    <a:pos x="T6" y="T7"/>
                  </a:cxn>
                </a:cxnLst>
                <a:rect l="T8" t="T9" r="T10" b="T11"/>
                <a:pathLst>
                  <a:path w="21600" h="21600">
                    <a:moveTo>
                      <a:pt x="0" y="0"/>
                    </a:moveTo>
                    <a:lnTo>
                      <a:pt x="1335" y="21600"/>
                    </a:lnTo>
                    <a:lnTo>
                      <a:pt x="20265"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01" name="Group 121"/>
            <p:cNvGrpSpPr>
              <a:grpSpLocks/>
            </p:cNvGrpSpPr>
            <p:nvPr/>
          </p:nvGrpSpPr>
          <p:grpSpPr bwMode="auto">
            <a:xfrm>
              <a:off x="2243" y="1344"/>
              <a:ext cx="1158" cy="577"/>
              <a:chOff x="686" y="1449"/>
              <a:chExt cx="1158" cy="550"/>
            </a:xfrm>
          </p:grpSpPr>
          <p:grpSp>
            <p:nvGrpSpPr>
              <p:cNvPr id="644" name="Group 122"/>
              <p:cNvGrpSpPr>
                <a:grpSpLocks/>
              </p:cNvGrpSpPr>
              <p:nvPr/>
            </p:nvGrpSpPr>
            <p:grpSpPr bwMode="auto">
              <a:xfrm>
                <a:off x="686" y="1449"/>
                <a:ext cx="1158" cy="137"/>
                <a:chOff x="686" y="1449"/>
                <a:chExt cx="1158" cy="137"/>
              </a:xfrm>
            </p:grpSpPr>
            <p:sp>
              <p:nvSpPr>
                <p:cNvPr id="660" name="Rectangle 123"/>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61" name="Rectangle 124"/>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62" name="Rectangle 125"/>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63" name="Rectangle 126"/>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45" name="Group 127"/>
              <p:cNvGrpSpPr>
                <a:grpSpLocks/>
              </p:cNvGrpSpPr>
              <p:nvPr/>
            </p:nvGrpSpPr>
            <p:grpSpPr bwMode="auto">
              <a:xfrm flipH="1">
                <a:off x="1488" y="1590"/>
                <a:ext cx="356" cy="137"/>
                <a:chOff x="1488" y="1449"/>
                <a:chExt cx="356" cy="137"/>
              </a:xfrm>
            </p:grpSpPr>
            <p:sp>
              <p:nvSpPr>
                <p:cNvPr id="656" name="Rectangle 128"/>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7" name="Rectangle 129"/>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8" name="Rectangle 130"/>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9" name="Rectangle 131"/>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46" name="Group 132"/>
              <p:cNvGrpSpPr>
                <a:grpSpLocks/>
              </p:cNvGrpSpPr>
              <p:nvPr/>
            </p:nvGrpSpPr>
            <p:grpSpPr bwMode="auto">
              <a:xfrm>
                <a:off x="686" y="1721"/>
                <a:ext cx="1158" cy="137"/>
                <a:chOff x="686" y="1449"/>
                <a:chExt cx="1158" cy="137"/>
              </a:xfrm>
            </p:grpSpPr>
            <p:sp>
              <p:nvSpPr>
                <p:cNvPr id="652" name="Rectangle 133"/>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3" name="Rectangle 134"/>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4" name="Rectangle 135"/>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5" name="Rectangle 136"/>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47" name="Group 137"/>
              <p:cNvGrpSpPr>
                <a:grpSpLocks/>
              </p:cNvGrpSpPr>
              <p:nvPr/>
            </p:nvGrpSpPr>
            <p:grpSpPr bwMode="auto">
              <a:xfrm flipH="1">
                <a:off x="1488" y="1862"/>
                <a:ext cx="356" cy="137"/>
                <a:chOff x="1488" y="1449"/>
                <a:chExt cx="356" cy="137"/>
              </a:xfrm>
            </p:grpSpPr>
            <p:sp>
              <p:nvSpPr>
                <p:cNvPr id="648" name="Rectangle 138"/>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49" name="Rectangle 139"/>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0" name="Rectangle 140"/>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51" name="Rectangle 141"/>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grpSp>
          <p:nvGrpSpPr>
            <p:cNvPr id="602" name="Group 142"/>
            <p:cNvGrpSpPr>
              <a:grpSpLocks/>
            </p:cNvGrpSpPr>
            <p:nvPr/>
          </p:nvGrpSpPr>
          <p:grpSpPr bwMode="auto">
            <a:xfrm>
              <a:off x="2243" y="1913"/>
              <a:ext cx="1158" cy="577"/>
              <a:chOff x="686" y="1449"/>
              <a:chExt cx="1158" cy="550"/>
            </a:xfrm>
          </p:grpSpPr>
          <p:grpSp>
            <p:nvGrpSpPr>
              <p:cNvPr id="624" name="Group 143"/>
              <p:cNvGrpSpPr>
                <a:grpSpLocks/>
              </p:cNvGrpSpPr>
              <p:nvPr/>
            </p:nvGrpSpPr>
            <p:grpSpPr bwMode="auto">
              <a:xfrm>
                <a:off x="686" y="1449"/>
                <a:ext cx="1158" cy="137"/>
                <a:chOff x="686" y="1449"/>
                <a:chExt cx="1158" cy="137"/>
              </a:xfrm>
            </p:grpSpPr>
            <p:sp>
              <p:nvSpPr>
                <p:cNvPr id="640" name="Rectangle 144"/>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41" name="Rectangle 145"/>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42" name="Rectangle 146"/>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43" name="Rectangle 147"/>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25" name="Group 148"/>
              <p:cNvGrpSpPr>
                <a:grpSpLocks/>
              </p:cNvGrpSpPr>
              <p:nvPr/>
            </p:nvGrpSpPr>
            <p:grpSpPr bwMode="auto">
              <a:xfrm flipH="1">
                <a:off x="1488" y="1590"/>
                <a:ext cx="356" cy="137"/>
                <a:chOff x="1488" y="1449"/>
                <a:chExt cx="356" cy="137"/>
              </a:xfrm>
            </p:grpSpPr>
            <p:sp>
              <p:nvSpPr>
                <p:cNvPr id="636" name="Rectangle 149"/>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7" name="Rectangle 150"/>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8" name="Rectangle 151"/>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9" name="Rectangle 152"/>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26" name="Group 153"/>
              <p:cNvGrpSpPr>
                <a:grpSpLocks/>
              </p:cNvGrpSpPr>
              <p:nvPr/>
            </p:nvGrpSpPr>
            <p:grpSpPr bwMode="auto">
              <a:xfrm>
                <a:off x="686" y="1721"/>
                <a:ext cx="1158" cy="137"/>
                <a:chOff x="686" y="1449"/>
                <a:chExt cx="1158" cy="137"/>
              </a:xfrm>
            </p:grpSpPr>
            <p:sp>
              <p:nvSpPr>
                <p:cNvPr id="632" name="Rectangle 154"/>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3" name="Rectangle 155"/>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4" name="Rectangle 156"/>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5" name="Rectangle 157"/>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27" name="Group 158"/>
              <p:cNvGrpSpPr>
                <a:grpSpLocks/>
              </p:cNvGrpSpPr>
              <p:nvPr/>
            </p:nvGrpSpPr>
            <p:grpSpPr bwMode="auto">
              <a:xfrm flipH="1">
                <a:off x="1488" y="1862"/>
                <a:ext cx="356" cy="137"/>
                <a:chOff x="1488" y="1449"/>
                <a:chExt cx="356" cy="137"/>
              </a:xfrm>
            </p:grpSpPr>
            <p:sp>
              <p:nvSpPr>
                <p:cNvPr id="628" name="Rectangle 159"/>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29" name="Rectangle 160"/>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0" name="Rectangle 161"/>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31" name="Rectangle 162"/>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grpSp>
          <p:nvGrpSpPr>
            <p:cNvPr id="603" name="Group 163"/>
            <p:cNvGrpSpPr>
              <a:grpSpLocks/>
            </p:cNvGrpSpPr>
            <p:nvPr/>
          </p:nvGrpSpPr>
          <p:grpSpPr bwMode="auto">
            <a:xfrm>
              <a:off x="2243" y="2482"/>
              <a:ext cx="1158" cy="577"/>
              <a:chOff x="686" y="1449"/>
              <a:chExt cx="1158" cy="550"/>
            </a:xfrm>
          </p:grpSpPr>
          <p:grpSp>
            <p:nvGrpSpPr>
              <p:cNvPr id="604" name="Group 164"/>
              <p:cNvGrpSpPr>
                <a:grpSpLocks/>
              </p:cNvGrpSpPr>
              <p:nvPr/>
            </p:nvGrpSpPr>
            <p:grpSpPr bwMode="auto">
              <a:xfrm>
                <a:off x="686" y="1449"/>
                <a:ext cx="1158" cy="137"/>
                <a:chOff x="686" y="1449"/>
                <a:chExt cx="1158" cy="137"/>
              </a:xfrm>
            </p:grpSpPr>
            <p:sp>
              <p:nvSpPr>
                <p:cNvPr id="620" name="Rectangle 165"/>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21" name="Rectangle 166"/>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22" name="Rectangle 167"/>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23" name="Rectangle 168"/>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05" name="Group 169"/>
              <p:cNvGrpSpPr>
                <a:grpSpLocks/>
              </p:cNvGrpSpPr>
              <p:nvPr/>
            </p:nvGrpSpPr>
            <p:grpSpPr bwMode="auto">
              <a:xfrm flipH="1">
                <a:off x="1488" y="1590"/>
                <a:ext cx="356" cy="137"/>
                <a:chOff x="1488" y="1449"/>
                <a:chExt cx="356" cy="137"/>
              </a:xfrm>
            </p:grpSpPr>
            <p:sp>
              <p:nvSpPr>
                <p:cNvPr id="616" name="Rectangle 170"/>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7" name="Rectangle 171"/>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8" name="Rectangle 172"/>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9" name="Rectangle 173"/>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06" name="Group 174"/>
              <p:cNvGrpSpPr>
                <a:grpSpLocks/>
              </p:cNvGrpSpPr>
              <p:nvPr/>
            </p:nvGrpSpPr>
            <p:grpSpPr bwMode="auto">
              <a:xfrm>
                <a:off x="686" y="1721"/>
                <a:ext cx="1158" cy="137"/>
                <a:chOff x="686" y="1449"/>
                <a:chExt cx="1158" cy="137"/>
              </a:xfrm>
            </p:grpSpPr>
            <p:sp>
              <p:nvSpPr>
                <p:cNvPr id="612" name="Rectangle 175"/>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3" name="Rectangle 176"/>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4" name="Rectangle 177"/>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5" name="Rectangle 178"/>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607" name="Group 179"/>
              <p:cNvGrpSpPr>
                <a:grpSpLocks/>
              </p:cNvGrpSpPr>
              <p:nvPr/>
            </p:nvGrpSpPr>
            <p:grpSpPr bwMode="auto">
              <a:xfrm flipH="1">
                <a:off x="1488" y="1862"/>
                <a:ext cx="356" cy="137"/>
                <a:chOff x="1488" y="1449"/>
                <a:chExt cx="356" cy="137"/>
              </a:xfrm>
            </p:grpSpPr>
            <p:sp>
              <p:nvSpPr>
                <p:cNvPr id="608" name="Rectangle 180"/>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09" name="Rectangle 181"/>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0" name="Rectangle 182"/>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611" name="Rectangle 183"/>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grpSp>
      <p:grpSp>
        <p:nvGrpSpPr>
          <p:cNvPr id="526" name="Group 255"/>
          <p:cNvGrpSpPr>
            <a:grpSpLocks/>
          </p:cNvGrpSpPr>
          <p:nvPr/>
        </p:nvGrpSpPr>
        <p:grpSpPr bwMode="auto">
          <a:xfrm>
            <a:off x="6450836" y="2042572"/>
            <a:ext cx="2139775" cy="3184747"/>
            <a:chOff x="3585" y="1119"/>
            <a:chExt cx="1503" cy="2237"/>
          </a:xfrm>
        </p:grpSpPr>
        <p:sp>
          <p:nvSpPr>
            <p:cNvPr id="527" name="Rectangle 17"/>
            <p:cNvSpPr>
              <a:spLocks noChangeArrowheads="1"/>
            </p:cNvSpPr>
            <p:nvPr>
              <p:custDataLst>
                <p:tags r:id="rId5"/>
              </p:custDataLst>
            </p:nvPr>
          </p:nvSpPr>
          <p:spPr bwMode="gray">
            <a:xfrm>
              <a:off x="3754" y="1336"/>
              <a:ext cx="1164" cy="1723"/>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28" name="Rectangle 19"/>
            <p:cNvSpPr>
              <a:spLocks noChangeArrowheads="1"/>
            </p:cNvSpPr>
            <p:nvPr/>
          </p:nvSpPr>
          <p:spPr bwMode="gray">
            <a:xfrm>
              <a:off x="3667" y="1196"/>
              <a:ext cx="1339" cy="118"/>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29" name="Rectangle 20"/>
            <p:cNvSpPr>
              <a:spLocks noChangeArrowheads="1"/>
            </p:cNvSpPr>
            <p:nvPr/>
          </p:nvSpPr>
          <p:spPr bwMode="gray">
            <a:xfrm>
              <a:off x="3585" y="1119"/>
              <a:ext cx="1503" cy="59"/>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30" name="AutoShape 21"/>
            <p:cNvSpPr>
              <a:spLocks noChangeArrowheads="1"/>
            </p:cNvSpPr>
            <p:nvPr/>
          </p:nvSpPr>
          <p:spPr bwMode="gray">
            <a:xfrm>
              <a:off x="3667" y="1314"/>
              <a:ext cx="1339" cy="21"/>
            </a:xfrm>
            <a:custGeom>
              <a:avLst/>
              <a:gdLst>
                <a:gd name="G0" fmla="+- 1561 0 0"/>
                <a:gd name="G1" fmla="+- 21600 0 1561"/>
                <a:gd name="G2" fmla="*/ 1561 1 2"/>
                <a:gd name="G3" fmla="+- 21600 0 G2"/>
                <a:gd name="G4" fmla="+/ 1561 21600 2"/>
                <a:gd name="G5" fmla="+/ G1 0 2"/>
                <a:gd name="G6" fmla="*/ 21600 21600 1561"/>
                <a:gd name="G7" fmla="*/ G6 1 2"/>
                <a:gd name="G8" fmla="+- 21600 0 G7"/>
                <a:gd name="G9" fmla="*/ 21600 1 2"/>
                <a:gd name="G10" fmla="+- 1561 0 G9"/>
                <a:gd name="G11" fmla="?: G10 G8 0"/>
                <a:gd name="G12" fmla="?: G10 G7 21600"/>
                <a:gd name="T0" fmla="*/ 20819 w 21600"/>
                <a:gd name="T1" fmla="*/ 10800 h 21600"/>
                <a:gd name="T2" fmla="*/ 10800 w 21600"/>
                <a:gd name="T3" fmla="*/ 21600 h 21600"/>
                <a:gd name="T4" fmla="*/ 781 w 21600"/>
                <a:gd name="T5" fmla="*/ 10800 h 21600"/>
                <a:gd name="T6" fmla="*/ 10800 w 21600"/>
                <a:gd name="T7" fmla="*/ 0 h 21600"/>
                <a:gd name="T8" fmla="*/ 2581 w 21600"/>
                <a:gd name="T9" fmla="*/ 2581 h 21600"/>
                <a:gd name="T10" fmla="*/ 19019 w 21600"/>
                <a:gd name="T11" fmla="*/ 19019 h 21600"/>
              </a:gdLst>
              <a:ahLst/>
              <a:cxnLst>
                <a:cxn ang="0">
                  <a:pos x="T0" y="T1"/>
                </a:cxn>
                <a:cxn ang="0">
                  <a:pos x="T2" y="T3"/>
                </a:cxn>
                <a:cxn ang="0">
                  <a:pos x="T4" y="T5"/>
                </a:cxn>
                <a:cxn ang="0">
                  <a:pos x="T6" y="T7"/>
                </a:cxn>
              </a:cxnLst>
              <a:rect l="T8" t="T9" r="T10" b="T11"/>
              <a:pathLst>
                <a:path w="21600" h="21600">
                  <a:moveTo>
                    <a:pt x="0" y="0"/>
                  </a:moveTo>
                  <a:lnTo>
                    <a:pt x="1561" y="21600"/>
                  </a:lnTo>
                  <a:lnTo>
                    <a:pt x="20039"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31" name="AutoShape 22"/>
            <p:cNvSpPr>
              <a:spLocks noChangeArrowheads="1"/>
            </p:cNvSpPr>
            <p:nvPr/>
          </p:nvSpPr>
          <p:spPr bwMode="gray">
            <a:xfrm>
              <a:off x="3589" y="1178"/>
              <a:ext cx="1495" cy="20"/>
            </a:xfrm>
            <a:custGeom>
              <a:avLst/>
              <a:gdLst>
                <a:gd name="G0" fmla="+- 1335 0 0"/>
                <a:gd name="G1" fmla="+- 21600 0 1335"/>
                <a:gd name="G2" fmla="*/ 1335 1 2"/>
                <a:gd name="G3" fmla="+- 21600 0 G2"/>
                <a:gd name="G4" fmla="+/ 1335 21600 2"/>
                <a:gd name="G5" fmla="+/ G1 0 2"/>
                <a:gd name="G6" fmla="*/ 21600 21600 1335"/>
                <a:gd name="G7" fmla="*/ G6 1 2"/>
                <a:gd name="G8" fmla="+- 21600 0 G7"/>
                <a:gd name="G9" fmla="*/ 21600 1 2"/>
                <a:gd name="G10" fmla="+- 1335 0 G9"/>
                <a:gd name="G11" fmla="?: G10 G8 0"/>
                <a:gd name="G12" fmla="?: G10 G7 21600"/>
                <a:gd name="T0" fmla="*/ 20932 w 21600"/>
                <a:gd name="T1" fmla="*/ 10800 h 21600"/>
                <a:gd name="T2" fmla="*/ 10800 w 21600"/>
                <a:gd name="T3" fmla="*/ 21600 h 21600"/>
                <a:gd name="T4" fmla="*/ 668 w 21600"/>
                <a:gd name="T5" fmla="*/ 10800 h 21600"/>
                <a:gd name="T6" fmla="*/ 10800 w 21600"/>
                <a:gd name="T7" fmla="*/ 0 h 21600"/>
                <a:gd name="T8" fmla="*/ 2468 w 21600"/>
                <a:gd name="T9" fmla="*/ 2468 h 21600"/>
                <a:gd name="T10" fmla="*/ 19132 w 21600"/>
                <a:gd name="T11" fmla="*/ 19132 h 21600"/>
              </a:gdLst>
              <a:ahLst/>
              <a:cxnLst>
                <a:cxn ang="0">
                  <a:pos x="T0" y="T1"/>
                </a:cxn>
                <a:cxn ang="0">
                  <a:pos x="T2" y="T3"/>
                </a:cxn>
                <a:cxn ang="0">
                  <a:pos x="T4" y="T5"/>
                </a:cxn>
                <a:cxn ang="0">
                  <a:pos x="T6" y="T7"/>
                </a:cxn>
              </a:cxnLst>
              <a:rect l="T8" t="T9" r="T10" b="T11"/>
              <a:pathLst>
                <a:path w="21600" h="21600">
                  <a:moveTo>
                    <a:pt x="0" y="0"/>
                  </a:moveTo>
                  <a:lnTo>
                    <a:pt x="1335" y="21600"/>
                  </a:lnTo>
                  <a:lnTo>
                    <a:pt x="20265" y="21600"/>
                  </a:lnTo>
                  <a:lnTo>
                    <a:pt x="21600" y="0"/>
                  </a:lnTo>
                  <a:close/>
                </a:path>
              </a:pathLst>
            </a:custGeom>
            <a:solidFill>
              <a:srgbClr val="C0C0C0"/>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nvGrpSpPr>
            <p:cNvPr id="532" name="Group 36"/>
            <p:cNvGrpSpPr>
              <a:grpSpLocks/>
            </p:cNvGrpSpPr>
            <p:nvPr/>
          </p:nvGrpSpPr>
          <p:grpSpPr bwMode="auto">
            <a:xfrm>
              <a:off x="3667" y="3065"/>
              <a:ext cx="1339" cy="188"/>
              <a:chOff x="3962" y="3163"/>
              <a:chExt cx="1029" cy="241"/>
            </a:xfrm>
          </p:grpSpPr>
          <p:sp>
            <p:nvSpPr>
              <p:cNvPr id="592" name="Rectangle 37"/>
              <p:cNvSpPr>
                <a:spLocks noChangeArrowheads="1"/>
              </p:cNvSpPr>
              <p:nvPr/>
            </p:nvSpPr>
            <p:spPr bwMode="gray">
              <a:xfrm flipV="1">
                <a:off x="3962" y="3198"/>
                <a:ext cx="1029" cy="206"/>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93" name="AutoShape 38"/>
              <p:cNvSpPr>
                <a:spLocks noChangeArrowheads="1"/>
              </p:cNvSpPr>
              <p:nvPr/>
            </p:nvSpPr>
            <p:spPr bwMode="gray">
              <a:xfrm flipV="1">
                <a:off x="3962" y="3163"/>
                <a:ext cx="1029" cy="35"/>
              </a:xfrm>
              <a:custGeom>
                <a:avLst/>
                <a:gdLst>
                  <a:gd name="G0" fmla="+- 1561 0 0"/>
                  <a:gd name="G1" fmla="+- 21600 0 1561"/>
                  <a:gd name="G2" fmla="*/ 1561 1 2"/>
                  <a:gd name="G3" fmla="+- 21600 0 G2"/>
                  <a:gd name="G4" fmla="+/ 1561 21600 2"/>
                  <a:gd name="G5" fmla="+/ G1 0 2"/>
                  <a:gd name="G6" fmla="*/ 21600 21600 1561"/>
                  <a:gd name="G7" fmla="*/ G6 1 2"/>
                  <a:gd name="G8" fmla="+- 21600 0 G7"/>
                  <a:gd name="G9" fmla="*/ 21600 1 2"/>
                  <a:gd name="G10" fmla="+- 1561 0 G9"/>
                  <a:gd name="G11" fmla="?: G10 G8 0"/>
                  <a:gd name="G12" fmla="?: G10 G7 21600"/>
                  <a:gd name="T0" fmla="*/ 20819 w 21600"/>
                  <a:gd name="T1" fmla="*/ 10800 h 21600"/>
                  <a:gd name="T2" fmla="*/ 10800 w 21600"/>
                  <a:gd name="T3" fmla="*/ 21600 h 21600"/>
                  <a:gd name="T4" fmla="*/ 781 w 21600"/>
                  <a:gd name="T5" fmla="*/ 10800 h 21600"/>
                  <a:gd name="T6" fmla="*/ 10800 w 21600"/>
                  <a:gd name="T7" fmla="*/ 0 h 21600"/>
                  <a:gd name="T8" fmla="*/ 2581 w 21600"/>
                  <a:gd name="T9" fmla="*/ 2581 h 21600"/>
                  <a:gd name="T10" fmla="*/ 19019 w 21600"/>
                  <a:gd name="T11" fmla="*/ 19019 h 21600"/>
                </a:gdLst>
                <a:ahLst/>
                <a:cxnLst>
                  <a:cxn ang="0">
                    <a:pos x="T0" y="T1"/>
                  </a:cxn>
                  <a:cxn ang="0">
                    <a:pos x="T2" y="T3"/>
                  </a:cxn>
                  <a:cxn ang="0">
                    <a:pos x="T4" y="T5"/>
                  </a:cxn>
                  <a:cxn ang="0">
                    <a:pos x="T6" y="T7"/>
                  </a:cxn>
                </a:cxnLst>
                <a:rect l="T8" t="T9" r="T10" b="T11"/>
                <a:pathLst>
                  <a:path w="21600" h="21600">
                    <a:moveTo>
                      <a:pt x="0" y="0"/>
                    </a:moveTo>
                    <a:lnTo>
                      <a:pt x="1561" y="21600"/>
                    </a:lnTo>
                    <a:lnTo>
                      <a:pt x="20039"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3" name="Group 39"/>
            <p:cNvGrpSpPr>
              <a:grpSpLocks/>
            </p:cNvGrpSpPr>
            <p:nvPr/>
          </p:nvGrpSpPr>
          <p:grpSpPr bwMode="auto">
            <a:xfrm>
              <a:off x="3585" y="3248"/>
              <a:ext cx="1503" cy="108"/>
              <a:chOff x="3899" y="3398"/>
              <a:chExt cx="1155" cy="138"/>
            </a:xfrm>
          </p:grpSpPr>
          <p:sp>
            <p:nvSpPr>
              <p:cNvPr id="590" name="Rectangle 40"/>
              <p:cNvSpPr>
                <a:spLocks noChangeArrowheads="1"/>
              </p:cNvSpPr>
              <p:nvPr/>
            </p:nvSpPr>
            <p:spPr bwMode="gray">
              <a:xfrm flipV="1">
                <a:off x="3899" y="3433"/>
                <a:ext cx="1155" cy="103"/>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91" name="AutoShape 41"/>
              <p:cNvSpPr>
                <a:spLocks noChangeArrowheads="1"/>
              </p:cNvSpPr>
              <p:nvPr/>
            </p:nvSpPr>
            <p:spPr bwMode="gray">
              <a:xfrm flipV="1">
                <a:off x="3902" y="3398"/>
                <a:ext cx="1149" cy="35"/>
              </a:xfrm>
              <a:custGeom>
                <a:avLst/>
                <a:gdLst>
                  <a:gd name="G0" fmla="+- 1335 0 0"/>
                  <a:gd name="G1" fmla="+- 21600 0 1335"/>
                  <a:gd name="G2" fmla="*/ 1335 1 2"/>
                  <a:gd name="G3" fmla="+- 21600 0 G2"/>
                  <a:gd name="G4" fmla="+/ 1335 21600 2"/>
                  <a:gd name="G5" fmla="+/ G1 0 2"/>
                  <a:gd name="G6" fmla="*/ 21600 21600 1335"/>
                  <a:gd name="G7" fmla="*/ G6 1 2"/>
                  <a:gd name="G8" fmla="+- 21600 0 G7"/>
                  <a:gd name="G9" fmla="*/ 21600 1 2"/>
                  <a:gd name="G10" fmla="+- 1335 0 G9"/>
                  <a:gd name="G11" fmla="?: G10 G8 0"/>
                  <a:gd name="G12" fmla="?: G10 G7 21600"/>
                  <a:gd name="T0" fmla="*/ 20932 w 21600"/>
                  <a:gd name="T1" fmla="*/ 10800 h 21600"/>
                  <a:gd name="T2" fmla="*/ 10800 w 21600"/>
                  <a:gd name="T3" fmla="*/ 21600 h 21600"/>
                  <a:gd name="T4" fmla="*/ 668 w 21600"/>
                  <a:gd name="T5" fmla="*/ 10800 h 21600"/>
                  <a:gd name="T6" fmla="*/ 10800 w 21600"/>
                  <a:gd name="T7" fmla="*/ 0 h 21600"/>
                  <a:gd name="T8" fmla="*/ 2468 w 21600"/>
                  <a:gd name="T9" fmla="*/ 2468 h 21600"/>
                  <a:gd name="T10" fmla="*/ 19132 w 21600"/>
                  <a:gd name="T11" fmla="*/ 19132 h 21600"/>
                </a:gdLst>
                <a:ahLst/>
                <a:cxnLst>
                  <a:cxn ang="0">
                    <a:pos x="T0" y="T1"/>
                  </a:cxn>
                  <a:cxn ang="0">
                    <a:pos x="T2" y="T3"/>
                  </a:cxn>
                  <a:cxn ang="0">
                    <a:pos x="T4" y="T5"/>
                  </a:cxn>
                  <a:cxn ang="0">
                    <a:pos x="T6" y="T7"/>
                  </a:cxn>
                </a:cxnLst>
                <a:rect l="T8" t="T9" r="T10" b="T11"/>
                <a:pathLst>
                  <a:path w="21600" h="21600">
                    <a:moveTo>
                      <a:pt x="0" y="0"/>
                    </a:moveTo>
                    <a:lnTo>
                      <a:pt x="1335" y="21600"/>
                    </a:lnTo>
                    <a:lnTo>
                      <a:pt x="20265" y="21600"/>
                    </a:lnTo>
                    <a:lnTo>
                      <a:pt x="21600" y="0"/>
                    </a:lnTo>
                    <a:close/>
                  </a:path>
                </a:pathLst>
              </a:custGeom>
              <a:solidFill>
                <a:srgbClr val="C0C0C0"/>
              </a:solidFill>
              <a:ln>
                <a:noFill/>
              </a:ln>
              <a:effectLst/>
              <a:extLs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rot="10800000"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4" name="Group 186"/>
            <p:cNvGrpSpPr>
              <a:grpSpLocks/>
            </p:cNvGrpSpPr>
            <p:nvPr/>
          </p:nvGrpSpPr>
          <p:grpSpPr bwMode="auto">
            <a:xfrm>
              <a:off x="3757" y="1344"/>
              <a:ext cx="1158" cy="144"/>
              <a:chOff x="686" y="1449"/>
              <a:chExt cx="1158" cy="137"/>
            </a:xfrm>
          </p:grpSpPr>
          <p:sp>
            <p:nvSpPr>
              <p:cNvPr id="586" name="Rectangle 187"/>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7" name="Rectangle 188"/>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8" name="Rectangle 189"/>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9" name="Rectangle 190"/>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5" name="Group 191"/>
            <p:cNvGrpSpPr>
              <a:grpSpLocks/>
            </p:cNvGrpSpPr>
            <p:nvPr/>
          </p:nvGrpSpPr>
          <p:grpSpPr bwMode="auto">
            <a:xfrm flipH="1">
              <a:off x="4559" y="1492"/>
              <a:ext cx="356" cy="144"/>
              <a:chOff x="1488" y="1449"/>
              <a:chExt cx="356" cy="137"/>
            </a:xfrm>
          </p:grpSpPr>
          <p:sp>
            <p:nvSpPr>
              <p:cNvPr id="582" name="Rectangle 192"/>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3" name="Rectangle 193"/>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4" name="Rectangle 194"/>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5" name="Rectangle 195"/>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6" name="Group 196"/>
            <p:cNvGrpSpPr>
              <a:grpSpLocks/>
            </p:cNvGrpSpPr>
            <p:nvPr/>
          </p:nvGrpSpPr>
          <p:grpSpPr bwMode="auto">
            <a:xfrm>
              <a:off x="3757" y="1629"/>
              <a:ext cx="1158" cy="144"/>
              <a:chOff x="686" y="1449"/>
              <a:chExt cx="1158" cy="137"/>
            </a:xfrm>
          </p:grpSpPr>
          <p:sp>
            <p:nvSpPr>
              <p:cNvPr id="578" name="Rectangle 197"/>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9" name="Rectangle 198"/>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0" name="Rectangle 199"/>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81" name="Rectangle 200"/>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7" name="Group 201"/>
            <p:cNvGrpSpPr>
              <a:grpSpLocks/>
            </p:cNvGrpSpPr>
            <p:nvPr/>
          </p:nvGrpSpPr>
          <p:grpSpPr bwMode="auto">
            <a:xfrm flipH="1">
              <a:off x="4559" y="1777"/>
              <a:ext cx="356" cy="144"/>
              <a:chOff x="1488" y="1449"/>
              <a:chExt cx="356" cy="137"/>
            </a:xfrm>
          </p:grpSpPr>
          <p:sp>
            <p:nvSpPr>
              <p:cNvPr id="574" name="Rectangle 202"/>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5" name="Rectangle 203"/>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6" name="Rectangle 204"/>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7" name="Rectangle 205"/>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8" name="Group 207"/>
            <p:cNvGrpSpPr>
              <a:grpSpLocks/>
            </p:cNvGrpSpPr>
            <p:nvPr/>
          </p:nvGrpSpPr>
          <p:grpSpPr bwMode="auto">
            <a:xfrm>
              <a:off x="3757" y="1913"/>
              <a:ext cx="1158" cy="144"/>
              <a:chOff x="686" y="1449"/>
              <a:chExt cx="1158" cy="137"/>
            </a:xfrm>
          </p:grpSpPr>
          <p:sp>
            <p:nvSpPr>
              <p:cNvPr id="570" name="Rectangle 208"/>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1" name="Rectangle 209"/>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2" name="Rectangle 210"/>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73" name="Rectangle 211"/>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39" name="Group 212"/>
            <p:cNvGrpSpPr>
              <a:grpSpLocks/>
            </p:cNvGrpSpPr>
            <p:nvPr/>
          </p:nvGrpSpPr>
          <p:grpSpPr bwMode="auto">
            <a:xfrm flipH="1">
              <a:off x="4559" y="2061"/>
              <a:ext cx="356" cy="144"/>
              <a:chOff x="1488" y="1449"/>
              <a:chExt cx="356" cy="137"/>
            </a:xfrm>
          </p:grpSpPr>
          <p:sp>
            <p:nvSpPr>
              <p:cNvPr id="566" name="Rectangle 213"/>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7" name="Rectangle 214"/>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8" name="Rectangle 215"/>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9" name="Rectangle 216"/>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40" name="Group 217"/>
            <p:cNvGrpSpPr>
              <a:grpSpLocks/>
            </p:cNvGrpSpPr>
            <p:nvPr/>
          </p:nvGrpSpPr>
          <p:grpSpPr bwMode="auto">
            <a:xfrm>
              <a:off x="3757" y="2198"/>
              <a:ext cx="1158" cy="144"/>
              <a:chOff x="686" y="1449"/>
              <a:chExt cx="1158" cy="137"/>
            </a:xfrm>
          </p:grpSpPr>
          <p:sp>
            <p:nvSpPr>
              <p:cNvPr id="562" name="Rectangle 218"/>
              <p:cNvSpPr>
                <a:spLocks noChangeArrowheads="1"/>
              </p:cNvSpPr>
              <p:nvPr/>
            </p:nvSpPr>
            <p:spPr bwMode="gray">
              <a:xfrm>
                <a:off x="686"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3" name="Rectangle 219"/>
              <p:cNvSpPr>
                <a:spLocks noChangeArrowheads="1"/>
              </p:cNvSpPr>
              <p:nvPr/>
            </p:nvSpPr>
            <p:spPr bwMode="gray">
              <a:xfrm>
                <a:off x="1043"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4" name="Rectangle 220"/>
              <p:cNvSpPr>
                <a:spLocks noChangeArrowheads="1"/>
              </p:cNvSpPr>
              <p:nvPr/>
            </p:nvSpPr>
            <p:spPr bwMode="gray">
              <a:xfrm>
                <a:off x="139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5" name="Rectangle 221"/>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grpSp>
          <p:nvGrpSpPr>
            <p:cNvPr id="541" name="Group 222"/>
            <p:cNvGrpSpPr>
              <a:grpSpLocks/>
            </p:cNvGrpSpPr>
            <p:nvPr/>
          </p:nvGrpSpPr>
          <p:grpSpPr bwMode="auto">
            <a:xfrm flipH="1">
              <a:off x="4559" y="2346"/>
              <a:ext cx="356" cy="144"/>
              <a:chOff x="1488" y="1449"/>
              <a:chExt cx="356" cy="137"/>
            </a:xfrm>
          </p:grpSpPr>
          <p:sp>
            <p:nvSpPr>
              <p:cNvPr id="558" name="Rectangle 223"/>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9" name="Rectangle 224"/>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0" name="Rectangle 225"/>
              <p:cNvSpPr>
                <a:spLocks noChangeArrowheads="1"/>
              </p:cNvSpPr>
              <p:nvPr/>
            </p:nvSpPr>
            <p:spPr bwMode="gray">
              <a:xfrm>
                <a:off x="1488" y="1449"/>
                <a:ext cx="356"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61" name="Rectangle 226"/>
              <p:cNvSpPr>
                <a:spLocks noChangeArrowheads="1"/>
              </p:cNvSpPr>
              <p:nvPr/>
            </p:nvSpPr>
            <p:spPr bwMode="gray">
              <a:xfrm>
                <a:off x="1752" y="1449"/>
                <a:ext cx="92" cy="137"/>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sp>
          <p:nvSpPr>
            <p:cNvPr id="542" name="Rectangle 229"/>
            <p:cNvSpPr>
              <a:spLocks noChangeArrowheads="1"/>
            </p:cNvSpPr>
            <p:nvPr/>
          </p:nvSpPr>
          <p:spPr bwMode="gray">
            <a:xfrm>
              <a:off x="3757" y="2482"/>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3" name="Rectangle 230"/>
            <p:cNvSpPr>
              <a:spLocks noChangeArrowheads="1"/>
            </p:cNvSpPr>
            <p:nvPr/>
          </p:nvSpPr>
          <p:spPr bwMode="gray">
            <a:xfrm>
              <a:off x="4114" y="2482"/>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4" name="Rectangle 231"/>
            <p:cNvSpPr>
              <a:spLocks noChangeArrowheads="1"/>
            </p:cNvSpPr>
            <p:nvPr/>
          </p:nvSpPr>
          <p:spPr bwMode="gray">
            <a:xfrm>
              <a:off x="4469" y="2482"/>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5" name="Rectangle 232"/>
            <p:cNvSpPr>
              <a:spLocks noChangeArrowheads="1"/>
            </p:cNvSpPr>
            <p:nvPr/>
          </p:nvSpPr>
          <p:spPr bwMode="gray">
            <a:xfrm>
              <a:off x="4823" y="2482"/>
              <a:ext cx="92"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6" name="Rectangle 234"/>
            <p:cNvSpPr>
              <a:spLocks noChangeArrowheads="1"/>
            </p:cNvSpPr>
            <p:nvPr/>
          </p:nvSpPr>
          <p:spPr bwMode="gray">
            <a:xfrm flipH="1">
              <a:off x="4559" y="2630"/>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7" name="Rectangle 235"/>
            <p:cNvSpPr>
              <a:spLocks noChangeArrowheads="1"/>
            </p:cNvSpPr>
            <p:nvPr/>
          </p:nvSpPr>
          <p:spPr bwMode="gray">
            <a:xfrm flipH="1">
              <a:off x="4559" y="2630"/>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8" name="Rectangle 236"/>
            <p:cNvSpPr>
              <a:spLocks noChangeArrowheads="1"/>
            </p:cNvSpPr>
            <p:nvPr/>
          </p:nvSpPr>
          <p:spPr bwMode="gray">
            <a:xfrm flipH="1">
              <a:off x="4559" y="2630"/>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49" name="Rectangle 237"/>
            <p:cNvSpPr>
              <a:spLocks noChangeArrowheads="1"/>
            </p:cNvSpPr>
            <p:nvPr/>
          </p:nvSpPr>
          <p:spPr bwMode="gray">
            <a:xfrm flipH="1">
              <a:off x="4559" y="2630"/>
              <a:ext cx="92"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0" name="Rectangle 239"/>
            <p:cNvSpPr>
              <a:spLocks noChangeArrowheads="1"/>
            </p:cNvSpPr>
            <p:nvPr/>
          </p:nvSpPr>
          <p:spPr bwMode="gray">
            <a:xfrm>
              <a:off x="3757" y="2767"/>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1" name="Rectangle 240"/>
            <p:cNvSpPr>
              <a:spLocks noChangeArrowheads="1"/>
            </p:cNvSpPr>
            <p:nvPr/>
          </p:nvSpPr>
          <p:spPr bwMode="gray">
            <a:xfrm>
              <a:off x="4114" y="2767"/>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2" name="Rectangle 241"/>
            <p:cNvSpPr>
              <a:spLocks noChangeArrowheads="1"/>
            </p:cNvSpPr>
            <p:nvPr/>
          </p:nvSpPr>
          <p:spPr bwMode="gray">
            <a:xfrm>
              <a:off x="4469" y="2767"/>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3" name="Rectangle 242"/>
            <p:cNvSpPr>
              <a:spLocks noChangeArrowheads="1"/>
            </p:cNvSpPr>
            <p:nvPr/>
          </p:nvSpPr>
          <p:spPr bwMode="gray">
            <a:xfrm>
              <a:off x="4823" y="2767"/>
              <a:ext cx="92"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4" name="Rectangle 244"/>
            <p:cNvSpPr>
              <a:spLocks noChangeArrowheads="1"/>
            </p:cNvSpPr>
            <p:nvPr/>
          </p:nvSpPr>
          <p:spPr bwMode="gray">
            <a:xfrm flipH="1">
              <a:off x="4559" y="2915"/>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5" name="Rectangle 245"/>
            <p:cNvSpPr>
              <a:spLocks noChangeArrowheads="1"/>
            </p:cNvSpPr>
            <p:nvPr/>
          </p:nvSpPr>
          <p:spPr bwMode="gray">
            <a:xfrm flipH="1">
              <a:off x="4559" y="2915"/>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6" name="Rectangle 246"/>
            <p:cNvSpPr>
              <a:spLocks noChangeArrowheads="1"/>
            </p:cNvSpPr>
            <p:nvPr/>
          </p:nvSpPr>
          <p:spPr bwMode="gray">
            <a:xfrm flipH="1">
              <a:off x="4559" y="2915"/>
              <a:ext cx="356"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sp>
          <p:nvSpPr>
            <p:cNvPr id="557" name="Rectangle 247"/>
            <p:cNvSpPr>
              <a:spLocks noChangeArrowheads="1"/>
            </p:cNvSpPr>
            <p:nvPr/>
          </p:nvSpPr>
          <p:spPr bwMode="gray">
            <a:xfrm flipH="1">
              <a:off x="4559" y="2915"/>
              <a:ext cx="92" cy="144"/>
            </a:xfrm>
            <a:prstGeom prst="rect">
              <a:avLst/>
            </a:prstGeom>
            <a:gradFill rotWithShape="0">
              <a:gsLst>
                <a:gs pos="0">
                  <a:srgbClr val="F8F8F8"/>
                </a:gs>
                <a:gs pos="50000">
                  <a:srgbClr val="FFFFFF"/>
                </a:gs>
                <a:gs pos="100000">
                  <a:srgbClr val="F8F8F8"/>
                </a:gs>
              </a:gsLst>
              <a:lin ang="0" scaled="1"/>
            </a:gradFill>
            <a:ln w="12700" algn="ctr">
              <a:solidFill>
                <a:srgbClr val="DDDDDD"/>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defTabSz="914334" fontAlgn="auto">
                <a:spcBef>
                  <a:spcPts val="0"/>
                </a:spcBef>
                <a:spcAft>
                  <a:spcPts val="0"/>
                </a:spcAft>
                <a:defRPr/>
              </a:pPr>
              <a:endParaRPr lang="es-CO" sz="1799" kern="0" dirty="0">
                <a:solidFill>
                  <a:srgbClr val="000000"/>
                </a:solidFill>
                <a:cs typeface="Arial"/>
              </a:endParaRPr>
            </a:p>
          </p:txBody>
        </p:sp>
      </p:grpSp>
      <p:sp>
        <p:nvSpPr>
          <p:cNvPr id="742" name="Rectangle 3"/>
          <p:cNvSpPr txBox="1">
            <a:spLocks/>
          </p:cNvSpPr>
          <p:nvPr/>
        </p:nvSpPr>
        <p:spPr bwMode="gray">
          <a:xfrm>
            <a:off x="1443040" y="4015029"/>
            <a:ext cx="1092843" cy="738664"/>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chemeClr val="tx2"/>
              </a:buClr>
              <a:defRPr sz="10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600" dirty="0">
                <a:solidFill>
                  <a:schemeClr val="accent3"/>
                </a:solidFill>
              </a:rPr>
              <a:t>Desbloquear el terreno</a:t>
            </a:r>
          </a:p>
        </p:txBody>
      </p:sp>
      <p:sp>
        <p:nvSpPr>
          <p:cNvPr id="743" name="Rectangle 3"/>
          <p:cNvSpPr txBox="1">
            <a:spLocks/>
          </p:cNvSpPr>
          <p:nvPr/>
        </p:nvSpPr>
        <p:spPr bwMode="gray">
          <a:xfrm flipH="1">
            <a:off x="4085483" y="4015029"/>
            <a:ext cx="1382443" cy="492443"/>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chemeClr val="tx2"/>
              </a:buClr>
              <a:defRPr sz="10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600" dirty="0">
                <a:solidFill>
                  <a:schemeClr val="accent3"/>
                </a:solidFill>
              </a:rPr>
              <a:t>Eliminar barreras </a:t>
            </a:r>
          </a:p>
        </p:txBody>
      </p:sp>
      <p:sp>
        <p:nvSpPr>
          <p:cNvPr id="745" name="Rectangle 3"/>
          <p:cNvSpPr txBox="1">
            <a:spLocks/>
          </p:cNvSpPr>
          <p:nvPr/>
        </p:nvSpPr>
        <p:spPr bwMode="gray">
          <a:xfrm>
            <a:off x="6702440" y="3891918"/>
            <a:ext cx="1704324" cy="738664"/>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chemeClr val="tx2"/>
              </a:buClr>
              <a:defRPr sz="10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CO" sz="1600" dirty="0">
                <a:solidFill>
                  <a:schemeClr val="accent3"/>
                </a:solidFill>
              </a:rPr>
              <a:t>Mejorar la productividad de la construcción </a:t>
            </a:r>
          </a:p>
        </p:txBody>
      </p:sp>
      <p:sp>
        <p:nvSpPr>
          <p:cNvPr id="746" name="Rectangle 3"/>
          <p:cNvSpPr txBox="1">
            <a:spLocks/>
          </p:cNvSpPr>
          <p:nvPr/>
        </p:nvSpPr>
        <p:spPr bwMode="gray">
          <a:xfrm>
            <a:off x="793315" y="5568586"/>
            <a:ext cx="4361503" cy="246221"/>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chemeClr val="tx2"/>
              </a:buClr>
              <a:defRPr sz="10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s-CO" sz="1600" dirty="0"/>
              <a:t>Gestión y participación de los beneficiarios </a:t>
            </a:r>
          </a:p>
        </p:txBody>
      </p:sp>
      <p:sp>
        <p:nvSpPr>
          <p:cNvPr id="747" name="Rectangle 3"/>
          <p:cNvSpPr txBox="1">
            <a:spLocks/>
          </p:cNvSpPr>
          <p:nvPr/>
        </p:nvSpPr>
        <p:spPr bwMode="gray">
          <a:xfrm>
            <a:off x="793315" y="5961574"/>
            <a:ext cx="4361503" cy="246221"/>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chemeClr val="tx2"/>
              </a:buClr>
              <a:defRPr sz="10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s-CO" sz="1600" dirty="0"/>
              <a:t>Planificación y entrega del programa</a:t>
            </a:r>
          </a:p>
        </p:txBody>
      </p:sp>
      <p:sp>
        <p:nvSpPr>
          <p:cNvPr id="748" name="Rectangle 3"/>
          <p:cNvSpPr txBox="1">
            <a:spLocks/>
          </p:cNvSpPr>
          <p:nvPr/>
        </p:nvSpPr>
        <p:spPr bwMode="gray">
          <a:xfrm flipH="1">
            <a:off x="922333" y="1678468"/>
            <a:ext cx="3830987" cy="246221"/>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chemeClr val="tx2"/>
              </a:buClr>
              <a:defRPr sz="1000" b="1" baseline="0">
                <a:solidFill>
                  <a:schemeClr val="tx2"/>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s-CO" sz="1600" dirty="0"/>
              <a:t>Establecer la aspiración del programa</a:t>
            </a:r>
          </a:p>
        </p:txBody>
      </p:sp>
      <p:sp>
        <p:nvSpPr>
          <p:cNvPr id="752" name="Oval 751"/>
          <p:cNvSpPr>
            <a:spLocks/>
          </p:cNvSpPr>
          <p:nvPr/>
        </p:nvSpPr>
        <p:spPr>
          <a:xfrm>
            <a:off x="1860506" y="2450284"/>
            <a:ext cx="288000" cy="288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algn="ctr"/>
            <a:r>
              <a:rPr lang="es-CO" sz="2000" b="1" dirty="0">
                <a:solidFill>
                  <a:schemeClr val="bg1"/>
                </a:solidFill>
              </a:rPr>
              <a:t>1</a:t>
            </a:r>
          </a:p>
        </p:txBody>
      </p:sp>
      <p:sp>
        <p:nvSpPr>
          <p:cNvPr id="753" name="Oval 752"/>
          <p:cNvSpPr>
            <a:spLocks/>
          </p:cNvSpPr>
          <p:nvPr/>
        </p:nvSpPr>
        <p:spPr>
          <a:xfrm>
            <a:off x="4622306" y="2450284"/>
            <a:ext cx="288000" cy="288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algn="ctr"/>
            <a:r>
              <a:rPr lang="es-CO" sz="2000" b="1" dirty="0">
                <a:solidFill>
                  <a:schemeClr val="bg1"/>
                </a:solidFill>
              </a:rPr>
              <a:t>2</a:t>
            </a:r>
          </a:p>
        </p:txBody>
      </p:sp>
      <p:sp>
        <p:nvSpPr>
          <p:cNvPr id="754" name="Oval 753"/>
          <p:cNvSpPr>
            <a:spLocks/>
          </p:cNvSpPr>
          <p:nvPr/>
        </p:nvSpPr>
        <p:spPr>
          <a:xfrm>
            <a:off x="7454313" y="2450284"/>
            <a:ext cx="288000" cy="288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algn="ctr"/>
            <a:r>
              <a:rPr lang="es-CO" sz="2000" b="1" dirty="0">
                <a:solidFill>
                  <a:schemeClr val="bg1"/>
                </a:solidFill>
              </a:rPr>
              <a:t>3</a:t>
            </a:r>
          </a:p>
        </p:txBody>
      </p:sp>
      <p:sp>
        <p:nvSpPr>
          <p:cNvPr id="755" name="Oval 754"/>
          <p:cNvSpPr>
            <a:spLocks/>
          </p:cNvSpPr>
          <p:nvPr/>
        </p:nvSpPr>
        <p:spPr>
          <a:xfrm>
            <a:off x="3166992" y="3125832"/>
            <a:ext cx="411282" cy="411282"/>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algn="ctr"/>
            <a:r>
              <a:rPr lang="es-CO" sz="3600" b="1" dirty="0">
                <a:solidFill>
                  <a:schemeClr val="bg1"/>
                </a:solidFill>
              </a:rPr>
              <a:t>+</a:t>
            </a:r>
          </a:p>
        </p:txBody>
      </p:sp>
      <p:sp>
        <p:nvSpPr>
          <p:cNvPr id="756" name="Oval 755"/>
          <p:cNvSpPr>
            <a:spLocks/>
          </p:cNvSpPr>
          <p:nvPr/>
        </p:nvSpPr>
        <p:spPr>
          <a:xfrm>
            <a:off x="5931910" y="3125832"/>
            <a:ext cx="411282" cy="411282"/>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noAutofit/>
          </a:bodyPr>
          <a:lstStyle/>
          <a:p>
            <a:pPr algn="ctr"/>
            <a:r>
              <a:rPr lang="es-CO" sz="3600" b="1" dirty="0">
                <a:solidFill>
                  <a:schemeClr val="bg1"/>
                </a:solidFill>
              </a:rPr>
              <a:t>+</a:t>
            </a:r>
          </a:p>
        </p:txBody>
      </p:sp>
      <p:grpSp>
        <p:nvGrpSpPr>
          <p:cNvPr id="757" name="Group 756"/>
          <p:cNvGrpSpPr/>
          <p:nvPr/>
        </p:nvGrpSpPr>
        <p:grpSpPr>
          <a:xfrm>
            <a:off x="4206194" y="2903245"/>
            <a:ext cx="1156052" cy="615194"/>
            <a:chOff x="5673726" y="1362076"/>
            <a:chExt cx="989013" cy="569912"/>
          </a:xfrm>
          <a:solidFill>
            <a:schemeClr val="accent3"/>
          </a:solidFill>
        </p:grpSpPr>
        <p:sp>
          <p:nvSpPr>
            <p:cNvPr id="758" name="Freeform 117"/>
            <p:cNvSpPr>
              <a:spLocks/>
            </p:cNvSpPr>
            <p:nvPr/>
          </p:nvSpPr>
          <p:spPr bwMode="auto">
            <a:xfrm>
              <a:off x="5673726" y="1408113"/>
              <a:ext cx="258763" cy="201613"/>
            </a:xfrm>
            <a:custGeom>
              <a:avLst/>
              <a:gdLst>
                <a:gd name="T0" fmla="*/ 0 w 163"/>
                <a:gd name="T1" fmla="*/ 94 h 127"/>
                <a:gd name="T2" fmla="*/ 9 w 163"/>
                <a:gd name="T3" fmla="*/ 96 h 127"/>
                <a:gd name="T4" fmla="*/ 75 w 163"/>
                <a:gd name="T5" fmla="*/ 16 h 127"/>
                <a:gd name="T6" fmla="*/ 149 w 163"/>
                <a:gd name="T7" fmla="*/ 122 h 127"/>
                <a:gd name="T8" fmla="*/ 163 w 163"/>
                <a:gd name="T9" fmla="*/ 127 h 127"/>
                <a:gd name="T10" fmla="*/ 75 w 163"/>
                <a:gd name="T11" fmla="*/ 0 h 127"/>
                <a:gd name="T12" fmla="*/ 0 w 163"/>
                <a:gd name="T13" fmla="*/ 94 h 127"/>
              </a:gdLst>
              <a:ahLst/>
              <a:cxnLst>
                <a:cxn ang="0">
                  <a:pos x="T0" y="T1"/>
                </a:cxn>
                <a:cxn ang="0">
                  <a:pos x="T2" y="T3"/>
                </a:cxn>
                <a:cxn ang="0">
                  <a:pos x="T4" y="T5"/>
                </a:cxn>
                <a:cxn ang="0">
                  <a:pos x="T6" y="T7"/>
                </a:cxn>
                <a:cxn ang="0">
                  <a:pos x="T8" y="T9"/>
                </a:cxn>
                <a:cxn ang="0">
                  <a:pos x="T10" y="T11"/>
                </a:cxn>
                <a:cxn ang="0">
                  <a:pos x="T12" y="T13"/>
                </a:cxn>
              </a:cxnLst>
              <a:rect l="0" t="0" r="r" b="b"/>
              <a:pathLst>
                <a:path w="163" h="127">
                  <a:moveTo>
                    <a:pt x="0" y="94"/>
                  </a:moveTo>
                  <a:lnTo>
                    <a:pt x="9" y="96"/>
                  </a:lnTo>
                  <a:lnTo>
                    <a:pt x="75" y="16"/>
                  </a:lnTo>
                  <a:lnTo>
                    <a:pt x="149" y="122"/>
                  </a:lnTo>
                  <a:lnTo>
                    <a:pt x="163" y="127"/>
                  </a:lnTo>
                  <a:lnTo>
                    <a:pt x="75" y="0"/>
                  </a:lnTo>
                  <a:lnTo>
                    <a:pt x="0" y="9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59" name="Freeform 118"/>
            <p:cNvSpPr>
              <a:spLocks/>
            </p:cNvSpPr>
            <p:nvPr/>
          </p:nvSpPr>
          <p:spPr bwMode="auto">
            <a:xfrm>
              <a:off x="5808663" y="1373188"/>
              <a:ext cx="160338" cy="236538"/>
            </a:xfrm>
            <a:custGeom>
              <a:avLst/>
              <a:gdLst>
                <a:gd name="T0" fmla="*/ 90 w 101"/>
                <a:gd name="T1" fmla="*/ 149 h 149"/>
                <a:gd name="T2" fmla="*/ 101 w 101"/>
                <a:gd name="T3" fmla="*/ 144 h 149"/>
                <a:gd name="T4" fmla="*/ 99 w 101"/>
                <a:gd name="T5" fmla="*/ 0 h 149"/>
                <a:gd name="T6" fmla="*/ 0 w 101"/>
                <a:gd name="T7" fmla="*/ 17 h 149"/>
                <a:gd name="T8" fmla="*/ 90 w 101"/>
                <a:gd name="T9" fmla="*/ 149 h 149"/>
              </a:gdLst>
              <a:ahLst/>
              <a:cxnLst>
                <a:cxn ang="0">
                  <a:pos x="T0" y="T1"/>
                </a:cxn>
                <a:cxn ang="0">
                  <a:pos x="T2" y="T3"/>
                </a:cxn>
                <a:cxn ang="0">
                  <a:pos x="T4" y="T5"/>
                </a:cxn>
                <a:cxn ang="0">
                  <a:pos x="T6" y="T7"/>
                </a:cxn>
                <a:cxn ang="0">
                  <a:pos x="T8" y="T9"/>
                </a:cxn>
              </a:cxnLst>
              <a:rect l="0" t="0" r="r" b="b"/>
              <a:pathLst>
                <a:path w="101" h="149">
                  <a:moveTo>
                    <a:pt x="90" y="149"/>
                  </a:moveTo>
                  <a:lnTo>
                    <a:pt x="101" y="144"/>
                  </a:lnTo>
                  <a:lnTo>
                    <a:pt x="99" y="0"/>
                  </a:lnTo>
                  <a:lnTo>
                    <a:pt x="0" y="17"/>
                  </a:lnTo>
                  <a:lnTo>
                    <a:pt x="90"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0" name="Freeform 119"/>
            <p:cNvSpPr>
              <a:spLocks/>
            </p:cNvSpPr>
            <p:nvPr/>
          </p:nvSpPr>
          <p:spPr bwMode="auto">
            <a:xfrm>
              <a:off x="6483351" y="1452563"/>
              <a:ext cx="179388" cy="231775"/>
            </a:xfrm>
            <a:custGeom>
              <a:avLst/>
              <a:gdLst>
                <a:gd name="T0" fmla="*/ 12 w 113"/>
                <a:gd name="T1" fmla="*/ 139 h 146"/>
                <a:gd name="T2" fmla="*/ 61 w 113"/>
                <a:gd name="T3" fmla="*/ 12 h 146"/>
                <a:gd name="T4" fmla="*/ 109 w 113"/>
                <a:gd name="T5" fmla="*/ 73 h 146"/>
                <a:gd name="T6" fmla="*/ 113 w 113"/>
                <a:gd name="T7" fmla="*/ 68 h 146"/>
                <a:gd name="T8" fmla="*/ 57 w 113"/>
                <a:gd name="T9" fmla="*/ 0 h 146"/>
                <a:gd name="T10" fmla="*/ 0 w 113"/>
                <a:gd name="T11" fmla="*/ 146 h 146"/>
                <a:gd name="T12" fmla="*/ 12 w 113"/>
                <a:gd name="T13" fmla="*/ 139 h 146"/>
              </a:gdLst>
              <a:ahLst/>
              <a:cxnLst>
                <a:cxn ang="0">
                  <a:pos x="T0" y="T1"/>
                </a:cxn>
                <a:cxn ang="0">
                  <a:pos x="T2" y="T3"/>
                </a:cxn>
                <a:cxn ang="0">
                  <a:pos x="T4" y="T5"/>
                </a:cxn>
                <a:cxn ang="0">
                  <a:pos x="T6" y="T7"/>
                </a:cxn>
                <a:cxn ang="0">
                  <a:pos x="T8" y="T9"/>
                </a:cxn>
                <a:cxn ang="0">
                  <a:pos x="T10" y="T11"/>
                </a:cxn>
                <a:cxn ang="0">
                  <a:pos x="T12" y="T13"/>
                </a:cxn>
              </a:cxnLst>
              <a:rect l="0" t="0" r="r" b="b"/>
              <a:pathLst>
                <a:path w="113" h="146">
                  <a:moveTo>
                    <a:pt x="12" y="139"/>
                  </a:moveTo>
                  <a:lnTo>
                    <a:pt x="61" y="12"/>
                  </a:lnTo>
                  <a:lnTo>
                    <a:pt x="109" y="73"/>
                  </a:lnTo>
                  <a:lnTo>
                    <a:pt x="113" y="68"/>
                  </a:lnTo>
                  <a:lnTo>
                    <a:pt x="57" y="0"/>
                  </a:lnTo>
                  <a:lnTo>
                    <a:pt x="0" y="146"/>
                  </a:lnTo>
                  <a:lnTo>
                    <a:pt x="12"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1" name="Freeform 120"/>
            <p:cNvSpPr>
              <a:spLocks/>
            </p:cNvSpPr>
            <p:nvPr/>
          </p:nvSpPr>
          <p:spPr bwMode="auto">
            <a:xfrm>
              <a:off x="5981701" y="1373188"/>
              <a:ext cx="581025" cy="322263"/>
            </a:xfrm>
            <a:custGeom>
              <a:avLst/>
              <a:gdLst>
                <a:gd name="T0" fmla="*/ 366 w 366"/>
                <a:gd name="T1" fmla="*/ 43 h 203"/>
                <a:gd name="T2" fmla="*/ 304 w 366"/>
                <a:gd name="T3" fmla="*/ 203 h 203"/>
                <a:gd name="T4" fmla="*/ 2 w 366"/>
                <a:gd name="T5" fmla="*/ 144 h 203"/>
                <a:gd name="T6" fmla="*/ 0 w 366"/>
                <a:gd name="T7" fmla="*/ 0 h 203"/>
                <a:gd name="T8" fmla="*/ 148 w 366"/>
                <a:gd name="T9" fmla="*/ 17 h 203"/>
                <a:gd name="T10" fmla="*/ 148 w 366"/>
                <a:gd name="T11" fmla="*/ 78 h 203"/>
                <a:gd name="T12" fmla="*/ 151 w 366"/>
                <a:gd name="T13" fmla="*/ 78 h 203"/>
                <a:gd name="T14" fmla="*/ 188 w 366"/>
                <a:gd name="T15" fmla="*/ 83 h 203"/>
                <a:gd name="T16" fmla="*/ 191 w 366"/>
                <a:gd name="T17" fmla="*/ 83 h 203"/>
                <a:gd name="T18" fmla="*/ 191 w 366"/>
                <a:gd name="T19" fmla="*/ 83 h 203"/>
                <a:gd name="T20" fmla="*/ 217 w 366"/>
                <a:gd name="T21" fmla="*/ 36 h 203"/>
                <a:gd name="T22" fmla="*/ 217 w 366"/>
                <a:gd name="T23" fmla="*/ 36 h 203"/>
                <a:gd name="T24" fmla="*/ 217 w 366"/>
                <a:gd name="T25" fmla="*/ 26 h 203"/>
                <a:gd name="T26" fmla="*/ 366 w 366"/>
                <a:gd name="T27" fmla="*/ 4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6" h="203">
                  <a:moveTo>
                    <a:pt x="366" y="43"/>
                  </a:moveTo>
                  <a:lnTo>
                    <a:pt x="304" y="203"/>
                  </a:lnTo>
                  <a:lnTo>
                    <a:pt x="2" y="144"/>
                  </a:lnTo>
                  <a:lnTo>
                    <a:pt x="0" y="0"/>
                  </a:lnTo>
                  <a:lnTo>
                    <a:pt x="148" y="17"/>
                  </a:lnTo>
                  <a:lnTo>
                    <a:pt x="148" y="78"/>
                  </a:lnTo>
                  <a:lnTo>
                    <a:pt x="151" y="78"/>
                  </a:lnTo>
                  <a:lnTo>
                    <a:pt x="188" y="83"/>
                  </a:lnTo>
                  <a:lnTo>
                    <a:pt x="191" y="83"/>
                  </a:lnTo>
                  <a:lnTo>
                    <a:pt x="191" y="83"/>
                  </a:lnTo>
                  <a:lnTo>
                    <a:pt x="217" y="36"/>
                  </a:lnTo>
                  <a:lnTo>
                    <a:pt x="217" y="36"/>
                  </a:lnTo>
                  <a:lnTo>
                    <a:pt x="217" y="26"/>
                  </a:lnTo>
                  <a:lnTo>
                    <a:pt x="366" y="4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2" name="Freeform 121"/>
            <p:cNvSpPr>
              <a:spLocks/>
            </p:cNvSpPr>
            <p:nvPr/>
          </p:nvSpPr>
          <p:spPr bwMode="auto">
            <a:xfrm>
              <a:off x="5880101" y="1362076"/>
              <a:ext cx="44450" cy="11113"/>
            </a:xfrm>
            <a:custGeom>
              <a:avLst/>
              <a:gdLst>
                <a:gd name="T0" fmla="*/ 28 w 28"/>
                <a:gd name="T1" fmla="*/ 3 h 7"/>
                <a:gd name="T2" fmla="*/ 7 w 28"/>
                <a:gd name="T3" fmla="*/ 0 h 7"/>
                <a:gd name="T4" fmla="*/ 0 w 28"/>
                <a:gd name="T5" fmla="*/ 7 h 7"/>
                <a:gd name="T6" fmla="*/ 28 w 28"/>
                <a:gd name="T7" fmla="*/ 3 h 7"/>
              </a:gdLst>
              <a:ahLst/>
              <a:cxnLst>
                <a:cxn ang="0">
                  <a:pos x="T0" y="T1"/>
                </a:cxn>
                <a:cxn ang="0">
                  <a:pos x="T2" y="T3"/>
                </a:cxn>
                <a:cxn ang="0">
                  <a:pos x="T4" y="T5"/>
                </a:cxn>
                <a:cxn ang="0">
                  <a:pos x="T6" y="T7"/>
                </a:cxn>
              </a:cxnLst>
              <a:rect l="0" t="0" r="r" b="b"/>
              <a:pathLst>
                <a:path w="28" h="7">
                  <a:moveTo>
                    <a:pt x="28" y="3"/>
                  </a:moveTo>
                  <a:lnTo>
                    <a:pt x="7" y="0"/>
                  </a:lnTo>
                  <a:lnTo>
                    <a:pt x="0" y="7"/>
                  </a:lnTo>
                  <a:lnTo>
                    <a:pt x="28"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3" name="Freeform 122"/>
            <p:cNvSpPr>
              <a:spLocks/>
            </p:cNvSpPr>
            <p:nvPr/>
          </p:nvSpPr>
          <p:spPr bwMode="auto">
            <a:xfrm>
              <a:off x="5927726" y="1617663"/>
              <a:ext cx="41275" cy="209550"/>
            </a:xfrm>
            <a:custGeom>
              <a:avLst/>
              <a:gdLst>
                <a:gd name="T0" fmla="*/ 26 w 26"/>
                <a:gd name="T1" fmla="*/ 0 h 132"/>
                <a:gd name="T2" fmla="*/ 26 w 26"/>
                <a:gd name="T3" fmla="*/ 120 h 132"/>
                <a:gd name="T4" fmla="*/ 0 w 26"/>
                <a:gd name="T5" fmla="*/ 132 h 132"/>
                <a:gd name="T6" fmla="*/ 0 w 26"/>
                <a:gd name="T7" fmla="*/ 2 h 132"/>
                <a:gd name="T8" fmla="*/ 15 w 26"/>
                <a:gd name="T9" fmla="*/ 5 h 132"/>
                <a:gd name="T10" fmla="*/ 15 w 26"/>
                <a:gd name="T11" fmla="*/ 5 h 132"/>
                <a:gd name="T12" fmla="*/ 15 w 26"/>
                <a:gd name="T13" fmla="*/ 5 h 132"/>
                <a:gd name="T14" fmla="*/ 26 w 26"/>
                <a:gd name="T15" fmla="*/ 0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32">
                  <a:moveTo>
                    <a:pt x="26" y="0"/>
                  </a:moveTo>
                  <a:lnTo>
                    <a:pt x="26" y="120"/>
                  </a:lnTo>
                  <a:lnTo>
                    <a:pt x="0" y="132"/>
                  </a:lnTo>
                  <a:lnTo>
                    <a:pt x="0" y="2"/>
                  </a:lnTo>
                  <a:lnTo>
                    <a:pt x="15" y="5"/>
                  </a:lnTo>
                  <a:lnTo>
                    <a:pt x="15" y="5"/>
                  </a:lnTo>
                  <a:lnTo>
                    <a:pt x="15" y="5"/>
                  </a:lnTo>
                  <a:lnTo>
                    <a:pt x="2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4" name="Freeform 123"/>
            <p:cNvSpPr>
              <a:spLocks/>
            </p:cNvSpPr>
            <p:nvPr/>
          </p:nvSpPr>
          <p:spPr bwMode="auto">
            <a:xfrm>
              <a:off x="6224588" y="1377951"/>
              <a:ext cx="52388" cy="119063"/>
            </a:xfrm>
            <a:custGeom>
              <a:avLst/>
              <a:gdLst>
                <a:gd name="T0" fmla="*/ 33 w 33"/>
                <a:gd name="T1" fmla="*/ 75 h 75"/>
                <a:gd name="T2" fmla="*/ 33 w 33"/>
                <a:gd name="T3" fmla="*/ 2 h 75"/>
                <a:gd name="T4" fmla="*/ 0 w 33"/>
                <a:gd name="T5" fmla="*/ 0 h 75"/>
                <a:gd name="T6" fmla="*/ 0 w 33"/>
                <a:gd name="T7" fmla="*/ 71 h 75"/>
                <a:gd name="T8" fmla="*/ 33 w 33"/>
                <a:gd name="T9" fmla="*/ 75 h 75"/>
              </a:gdLst>
              <a:ahLst/>
              <a:cxnLst>
                <a:cxn ang="0">
                  <a:pos x="T0" y="T1"/>
                </a:cxn>
                <a:cxn ang="0">
                  <a:pos x="T2" y="T3"/>
                </a:cxn>
                <a:cxn ang="0">
                  <a:pos x="T4" y="T5"/>
                </a:cxn>
                <a:cxn ang="0">
                  <a:pos x="T6" y="T7"/>
                </a:cxn>
                <a:cxn ang="0">
                  <a:pos x="T8" y="T9"/>
                </a:cxn>
              </a:cxnLst>
              <a:rect l="0" t="0" r="r" b="b"/>
              <a:pathLst>
                <a:path w="33" h="75">
                  <a:moveTo>
                    <a:pt x="33" y="75"/>
                  </a:moveTo>
                  <a:lnTo>
                    <a:pt x="33" y="2"/>
                  </a:lnTo>
                  <a:lnTo>
                    <a:pt x="0" y="0"/>
                  </a:lnTo>
                  <a:lnTo>
                    <a:pt x="0" y="71"/>
                  </a:lnTo>
                  <a:lnTo>
                    <a:pt x="33"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5" name="Freeform 124"/>
            <p:cNvSpPr>
              <a:spLocks/>
            </p:cNvSpPr>
            <p:nvPr/>
          </p:nvSpPr>
          <p:spPr bwMode="auto">
            <a:xfrm>
              <a:off x="6284913" y="1377951"/>
              <a:ext cx="33338" cy="104775"/>
            </a:xfrm>
            <a:custGeom>
              <a:avLst/>
              <a:gdLst>
                <a:gd name="T0" fmla="*/ 0 w 21"/>
                <a:gd name="T1" fmla="*/ 66 h 66"/>
                <a:gd name="T2" fmla="*/ 21 w 21"/>
                <a:gd name="T3" fmla="*/ 30 h 66"/>
                <a:gd name="T4" fmla="*/ 21 w 21"/>
                <a:gd name="T5" fmla="*/ 0 h 66"/>
                <a:gd name="T6" fmla="*/ 0 w 21"/>
                <a:gd name="T7" fmla="*/ 2 h 66"/>
                <a:gd name="T8" fmla="*/ 0 w 21"/>
                <a:gd name="T9" fmla="*/ 66 h 66"/>
              </a:gdLst>
              <a:ahLst/>
              <a:cxnLst>
                <a:cxn ang="0">
                  <a:pos x="T0" y="T1"/>
                </a:cxn>
                <a:cxn ang="0">
                  <a:pos x="T2" y="T3"/>
                </a:cxn>
                <a:cxn ang="0">
                  <a:pos x="T4" y="T5"/>
                </a:cxn>
                <a:cxn ang="0">
                  <a:pos x="T6" y="T7"/>
                </a:cxn>
                <a:cxn ang="0">
                  <a:pos x="T8" y="T9"/>
                </a:cxn>
              </a:cxnLst>
              <a:rect l="0" t="0" r="r" b="b"/>
              <a:pathLst>
                <a:path w="21" h="66">
                  <a:moveTo>
                    <a:pt x="0" y="66"/>
                  </a:moveTo>
                  <a:lnTo>
                    <a:pt x="21" y="30"/>
                  </a:lnTo>
                  <a:lnTo>
                    <a:pt x="21" y="0"/>
                  </a:lnTo>
                  <a:lnTo>
                    <a:pt x="0" y="2"/>
                  </a:lnTo>
                  <a:lnTo>
                    <a:pt x="0" y="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6" name="Freeform 125"/>
            <p:cNvSpPr>
              <a:spLocks/>
            </p:cNvSpPr>
            <p:nvPr/>
          </p:nvSpPr>
          <p:spPr bwMode="auto">
            <a:xfrm>
              <a:off x="6254751" y="1370013"/>
              <a:ext cx="38100" cy="3175"/>
            </a:xfrm>
            <a:custGeom>
              <a:avLst/>
              <a:gdLst>
                <a:gd name="T0" fmla="*/ 16 w 24"/>
                <a:gd name="T1" fmla="*/ 2 h 2"/>
                <a:gd name="T2" fmla="*/ 24 w 24"/>
                <a:gd name="T3" fmla="*/ 0 h 2"/>
                <a:gd name="T4" fmla="*/ 7 w 24"/>
                <a:gd name="T5" fmla="*/ 0 h 2"/>
                <a:gd name="T6" fmla="*/ 0 w 24"/>
                <a:gd name="T7" fmla="*/ 0 h 2"/>
                <a:gd name="T8" fmla="*/ 16 w 24"/>
                <a:gd name="T9" fmla="*/ 2 h 2"/>
              </a:gdLst>
              <a:ahLst/>
              <a:cxnLst>
                <a:cxn ang="0">
                  <a:pos x="T0" y="T1"/>
                </a:cxn>
                <a:cxn ang="0">
                  <a:pos x="T2" y="T3"/>
                </a:cxn>
                <a:cxn ang="0">
                  <a:pos x="T4" y="T5"/>
                </a:cxn>
                <a:cxn ang="0">
                  <a:pos x="T6" y="T7"/>
                </a:cxn>
                <a:cxn ang="0">
                  <a:pos x="T8" y="T9"/>
                </a:cxn>
              </a:cxnLst>
              <a:rect l="0" t="0" r="r" b="b"/>
              <a:pathLst>
                <a:path w="24" h="2">
                  <a:moveTo>
                    <a:pt x="16" y="2"/>
                  </a:moveTo>
                  <a:lnTo>
                    <a:pt x="24" y="0"/>
                  </a:lnTo>
                  <a:lnTo>
                    <a:pt x="7" y="0"/>
                  </a:lnTo>
                  <a:lnTo>
                    <a:pt x="0" y="0"/>
                  </a:lnTo>
                  <a:lnTo>
                    <a:pt x="16"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7" name="Freeform 126"/>
            <p:cNvSpPr>
              <a:spLocks/>
            </p:cNvSpPr>
            <p:nvPr/>
          </p:nvSpPr>
          <p:spPr bwMode="auto">
            <a:xfrm>
              <a:off x="6497638" y="1497013"/>
              <a:ext cx="139700" cy="428625"/>
            </a:xfrm>
            <a:custGeom>
              <a:avLst/>
              <a:gdLst>
                <a:gd name="T0" fmla="*/ 88 w 88"/>
                <a:gd name="T1" fmla="*/ 45 h 270"/>
                <a:gd name="T2" fmla="*/ 55 w 88"/>
                <a:gd name="T3" fmla="*/ 0 h 270"/>
                <a:gd name="T4" fmla="*/ 10 w 88"/>
                <a:gd name="T5" fmla="*/ 116 h 270"/>
                <a:gd name="T6" fmla="*/ 0 w 88"/>
                <a:gd name="T7" fmla="*/ 123 h 270"/>
                <a:gd name="T8" fmla="*/ 0 w 88"/>
                <a:gd name="T9" fmla="*/ 270 h 270"/>
                <a:gd name="T10" fmla="*/ 88 w 88"/>
                <a:gd name="T11" fmla="*/ 173 h 270"/>
                <a:gd name="T12" fmla="*/ 88 w 88"/>
                <a:gd name="T13" fmla="*/ 45 h 270"/>
              </a:gdLst>
              <a:ahLst/>
              <a:cxnLst>
                <a:cxn ang="0">
                  <a:pos x="T0" y="T1"/>
                </a:cxn>
                <a:cxn ang="0">
                  <a:pos x="T2" y="T3"/>
                </a:cxn>
                <a:cxn ang="0">
                  <a:pos x="T4" y="T5"/>
                </a:cxn>
                <a:cxn ang="0">
                  <a:pos x="T6" y="T7"/>
                </a:cxn>
                <a:cxn ang="0">
                  <a:pos x="T8" y="T9"/>
                </a:cxn>
                <a:cxn ang="0">
                  <a:pos x="T10" y="T11"/>
                </a:cxn>
                <a:cxn ang="0">
                  <a:pos x="T12" y="T13"/>
                </a:cxn>
              </a:cxnLst>
              <a:rect l="0" t="0" r="r" b="b"/>
              <a:pathLst>
                <a:path w="88" h="270">
                  <a:moveTo>
                    <a:pt x="88" y="45"/>
                  </a:moveTo>
                  <a:lnTo>
                    <a:pt x="55" y="0"/>
                  </a:lnTo>
                  <a:lnTo>
                    <a:pt x="10" y="116"/>
                  </a:lnTo>
                  <a:lnTo>
                    <a:pt x="0" y="123"/>
                  </a:lnTo>
                  <a:lnTo>
                    <a:pt x="0" y="270"/>
                  </a:lnTo>
                  <a:lnTo>
                    <a:pt x="88" y="173"/>
                  </a:lnTo>
                  <a:lnTo>
                    <a:pt x="88"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8" name="Freeform 127"/>
            <p:cNvSpPr>
              <a:spLocks noEditPoints="1"/>
            </p:cNvSpPr>
            <p:nvPr/>
          </p:nvSpPr>
          <p:spPr bwMode="auto">
            <a:xfrm>
              <a:off x="5703888" y="1455738"/>
              <a:ext cx="209550" cy="371475"/>
            </a:xfrm>
            <a:custGeom>
              <a:avLst/>
              <a:gdLst>
                <a:gd name="T0" fmla="*/ 56 w 56"/>
                <a:gd name="T1" fmla="*/ 43 h 99"/>
                <a:gd name="T2" fmla="*/ 56 w 56"/>
                <a:gd name="T3" fmla="*/ 99 h 99"/>
                <a:gd name="T4" fmla="*/ 38 w 56"/>
                <a:gd name="T5" fmla="*/ 95 h 99"/>
                <a:gd name="T6" fmla="*/ 38 w 56"/>
                <a:gd name="T7" fmla="*/ 50 h 99"/>
                <a:gd name="T8" fmla="*/ 16 w 56"/>
                <a:gd name="T9" fmla="*/ 45 h 99"/>
                <a:gd name="T10" fmla="*/ 16 w 56"/>
                <a:gd name="T11" fmla="*/ 89 h 99"/>
                <a:gd name="T12" fmla="*/ 0 w 56"/>
                <a:gd name="T13" fmla="*/ 84 h 99"/>
                <a:gd name="T14" fmla="*/ 0 w 56"/>
                <a:gd name="T15" fmla="*/ 29 h 99"/>
                <a:gd name="T16" fmla="*/ 24 w 56"/>
                <a:gd name="T17" fmla="*/ 0 h 99"/>
                <a:gd name="T18" fmla="*/ 53 w 56"/>
                <a:gd name="T19" fmla="*/ 43 h 99"/>
                <a:gd name="T20" fmla="*/ 56 w 56"/>
                <a:gd name="T21" fmla="*/ 43 h 99"/>
                <a:gd name="T22" fmla="*/ 38 w 56"/>
                <a:gd name="T23" fmla="*/ 44 h 99"/>
                <a:gd name="T24" fmla="*/ 16 w 56"/>
                <a:gd name="T25" fmla="*/ 40 h 99"/>
                <a:gd name="T26" fmla="*/ 38 w 56"/>
                <a:gd name="T27"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99">
                  <a:moveTo>
                    <a:pt x="56" y="43"/>
                  </a:moveTo>
                  <a:cubicBezTo>
                    <a:pt x="56" y="99"/>
                    <a:pt x="56" y="99"/>
                    <a:pt x="56" y="99"/>
                  </a:cubicBezTo>
                  <a:cubicBezTo>
                    <a:pt x="38" y="95"/>
                    <a:pt x="38" y="95"/>
                    <a:pt x="38" y="95"/>
                  </a:cubicBezTo>
                  <a:cubicBezTo>
                    <a:pt x="38" y="50"/>
                    <a:pt x="38" y="50"/>
                    <a:pt x="38" y="50"/>
                  </a:cubicBezTo>
                  <a:cubicBezTo>
                    <a:pt x="16" y="45"/>
                    <a:pt x="16" y="45"/>
                    <a:pt x="16" y="45"/>
                  </a:cubicBezTo>
                  <a:cubicBezTo>
                    <a:pt x="16" y="89"/>
                    <a:pt x="16" y="89"/>
                    <a:pt x="16" y="89"/>
                  </a:cubicBezTo>
                  <a:cubicBezTo>
                    <a:pt x="0" y="84"/>
                    <a:pt x="0" y="84"/>
                    <a:pt x="0" y="84"/>
                  </a:cubicBezTo>
                  <a:cubicBezTo>
                    <a:pt x="0" y="29"/>
                    <a:pt x="0" y="29"/>
                    <a:pt x="0" y="29"/>
                  </a:cubicBezTo>
                  <a:cubicBezTo>
                    <a:pt x="24" y="0"/>
                    <a:pt x="24" y="0"/>
                    <a:pt x="24" y="0"/>
                  </a:cubicBezTo>
                  <a:cubicBezTo>
                    <a:pt x="53" y="43"/>
                    <a:pt x="53" y="43"/>
                    <a:pt x="53" y="43"/>
                  </a:cubicBezTo>
                  <a:lnTo>
                    <a:pt x="56" y="43"/>
                  </a:lnTo>
                  <a:close/>
                  <a:moveTo>
                    <a:pt x="38" y="44"/>
                  </a:moveTo>
                  <a:cubicBezTo>
                    <a:pt x="38" y="31"/>
                    <a:pt x="16" y="27"/>
                    <a:pt x="16" y="40"/>
                  </a:cubicBezTo>
                  <a:lnTo>
                    <a:pt x="38" y="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69" name="Freeform 128"/>
            <p:cNvSpPr>
              <a:spLocks noEditPoints="1"/>
            </p:cNvSpPr>
            <p:nvPr/>
          </p:nvSpPr>
          <p:spPr bwMode="auto">
            <a:xfrm>
              <a:off x="5981701" y="1617663"/>
              <a:ext cx="501650" cy="314325"/>
            </a:xfrm>
            <a:custGeom>
              <a:avLst/>
              <a:gdLst>
                <a:gd name="T0" fmla="*/ 309 w 316"/>
                <a:gd name="T1" fmla="*/ 57 h 198"/>
                <a:gd name="T2" fmla="*/ 0 w 316"/>
                <a:gd name="T3" fmla="*/ 0 h 198"/>
                <a:gd name="T4" fmla="*/ 0 w 316"/>
                <a:gd name="T5" fmla="*/ 120 h 198"/>
                <a:gd name="T6" fmla="*/ 163 w 316"/>
                <a:gd name="T7" fmla="*/ 160 h 198"/>
                <a:gd name="T8" fmla="*/ 163 w 316"/>
                <a:gd name="T9" fmla="*/ 45 h 198"/>
                <a:gd name="T10" fmla="*/ 290 w 316"/>
                <a:gd name="T11" fmla="*/ 68 h 198"/>
                <a:gd name="T12" fmla="*/ 290 w 316"/>
                <a:gd name="T13" fmla="*/ 191 h 198"/>
                <a:gd name="T14" fmla="*/ 316 w 316"/>
                <a:gd name="T15" fmla="*/ 198 h 198"/>
                <a:gd name="T16" fmla="*/ 316 w 316"/>
                <a:gd name="T17" fmla="*/ 52 h 198"/>
                <a:gd name="T18" fmla="*/ 309 w 316"/>
                <a:gd name="T19" fmla="*/ 57 h 198"/>
                <a:gd name="T20" fmla="*/ 125 w 316"/>
                <a:gd name="T21" fmla="*/ 94 h 198"/>
                <a:gd name="T22" fmla="*/ 59 w 316"/>
                <a:gd name="T23" fmla="*/ 80 h 198"/>
                <a:gd name="T24" fmla="*/ 59 w 316"/>
                <a:gd name="T25" fmla="*/ 26 h 198"/>
                <a:gd name="T26" fmla="*/ 125 w 316"/>
                <a:gd name="T27" fmla="*/ 38 h 198"/>
                <a:gd name="T28" fmla="*/ 125 w 316"/>
                <a:gd name="T29" fmla="*/ 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6" h="198">
                  <a:moveTo>
                    <a:pt x="309" y="57"/>
                  </a:moveTo>
                  <a:lnTo>
                    <a:pt x="0" y="0"/>
                  </a:lnTo>
                  <a:lnTo>
                    <a:pt x="0" y="120"/>
                  </a:lnTo>
                  <a:lnTo>
                    <a:pt x="163" y="160"/>
                  </a:lnTo>
                  <a:lnTo>
                    <a:pt x="163" y="45"/>
                  </a:lnTo>
                  <a:lnTo>
                    <a:pt x="290" y="68"/>
                  </a:lnTo>
                  <a:lnTo>
                    <a:pt x="290" y="191"/>
                  </a:lnTo>
                  <a:lnTo>
                    <a:pt x="316" y="198"/>
                  </a:lnTo>
                  <a:lnTo>
                    <a:pt x="316" y="52"/>
                  </a:lnTo>
                  <a:lnTo>
                    <a:pt x="309" y="57"/>
                  </a:lnTo>
                  <a:close/>
                  <a:moveTo>
                    <a:pt x="125" y="94"/>
                  </a:moveTo>
                  <a:lnTo>
                    <a:pt x="59" y="80"/>
                  </a:lnTo>
                  <a:lnTo>
                    <a:pt x="59" y="26"/>
                  </a:lnTo>
                  <a:lnTo>
                    <a:pt x="125" y="38"/>
                  </a:lnTo>
                  <a:lnTo>
                    <a:pt x="125" y="9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70" name="Freeform 129"/>
            <p:cNvSpPr>
              <a:spLocks noEditPoints="1"/>
            </p:cNvSpPr>
            <p:nvPr/>
          </p:nvSpPr>
          <p:spPr bwMode="auto">
            <a:xfrm>
              <a:off x="6262688" y="1708151"/>
              <a:ext cx="168275" cy="198438"/>
            </a:xfrm>
            <a:custGeom>
              <a:avLst/>
              <a:gdLst>
                <a:gd name="T0" fmla="*/ 106 w 106"/>
                <a:gd name="T1" fmla="*/ 125 h 125"/>
                <a:gd name="T2" fmla="*/ 0 w 106"/>
                <a:gd name="T3" fmla="*/ 99 h 125"/>
                <a:gd name="T4" fmla="*/ 0 w 106"/>
                <a:gd name="T5" fmla="*/ 89 h 125"/>
                <a:gd name="T6" fmla="*/ 106 w 106"/>
                <a:gd name="T7" fmla="*/ 115 h 125"/>
                <a:gd name="T8" fmla="*/ 106 w 106"/>
                <a:gd name="T9" fmla="*/ 125 h 125"/>
                <a:gd name="T10" fmla="*/ 106 w 106"/>
                <a:gd name="T11" fmla="*/ 108 h 125"/>
                <a:gd name="T12" fmla="*/ 0 w 106"/>
                <a:gd name="T13" fmla="*/ 82 h 125"/>
                <a:gd name="T14" fmla="*/ 0 w 106"/>
                <a:gd name="T15" fmla="*/ 73 h 125"/>
                <a:gd name="T16" fmla="*/ 106 w 106"/>
                <a:gd name="T17" fmla="*/ 101 h 125"/>
                <a:gd name="T18" fmla="*/ 106 w 106"/>
                <a:gd name="T19" fmla="*/ 108 h 125"/>
                <a:gd name="T20" fmla="*/ 106 w 106"/>
                <a:gd name="T21" fmla="*/ 21 h 125"/>
                <a:gd name="T22" fmla="*/ 106 w 106"/>
                <a:gd name="T23" fmla="*/ 28 h 125"/>
                <a:gd name="T24" fmla="*/ 0 w 106"/>
                <a:gd name="T25" fmla="*/ 7 h 125"/>
                <a:gd name="T26" fmla="*/ 0 w 106"/>
                <a:gd name="T27" fmla="*/ 0 h 125"/>
                <a:gd name="T28" fmla="*/ 106 w 106"/>
                <a:gd name="T29" fmla="*/ 21 h 125"/>
                <a:gd name="T30" fmla="*/ 106 w 106"/>
                <a:gd name="T31" fmla="*/ 94 h 125"/>
                <a:gd name="T32" fmla="*/ 0 w 106"/>
                <a:gd name="T33" fmla="*/ 66 h 125"/>
                <a:gd name="T34" fmla="*/ 0 w 106"/>
                <a:gd name="T35" fmla="*/ 59 h 125"/>
                <a:gd name="T36" fmla="*/ 106 w 106"/>
                <a:gd name="T37" fmla="*/ 85 h 125"/>
                <a:gd name="T38" fmla="*/ 106 w 106"/>
                <a:gd name="T39" fmla="*/ 94 h 125"/>
                <a:gd name="T40" fmla="*/ 106 w 106"/>
                <a:gd name="T41" fmla="*/ 44 h 125"/>
                <a:gd name="T42" fmla="*/ 0 w 106"/>
                <a:gd name="T43" fmla="*/ 21 h 125"/>
                <a:gd name="T44" fmla="*/ 0 w 106"/>
                <a:gd name="T45" fmla="*/ 14 h 125"/>
                <a:gd name="T46" fmla="*/ 106 w 106"/>
                <a:gd name="T47" fmla="*/ 35 h 125"/>
                <a:gd name="T48" fmla="*/ 106 w 106"/>
                <a:gd name="T49" fmla="*/ 44 h 125"/>
                <a:gd name="T50" fmla="*/ 106 w 106"/>
                <a:gd name="T51" fmla="*/ 61 h 125"/>
                <a:gd name="T52" fmla="*/ 0 w 106"/>
                <a:gd name="T53" fmla="*/ 37 h 125"/>
                <a:gd name="T54" fmla="*/ 0 w 106"/>
                <a:gd name="T55" fmla="*/ 28 h 125"/>
                <a:gd name="T56" fmla="*/ 106 w 106"/>
                <a:gd name="T57" fmla="*/ 52 h 125"/>
                <a:gd name="T58" fmla="*/ 106 w 106"/>
                <a:gd name="T59" fmla="*/ 61 h 125"/>
                <a:gd name="T60" fmla="*/ 106 w 106"/>
                <a:gd name="T61" fmla="*/ 78 h 125"/>
                <a:gd name="T62" fmla="*/ 0 w 106"/>
                <a:gd name="T63" fmla="*/ 52 h 125"/>
                <a:gd name="T64" fmla="*/ 0 w 106"/>
                <a:gd name="T65" fmla="*/ 44 h 125"/>
                <a:gd name="T66" fmla="*/ 106 w 106"/>
                <a:gd name="T67" fmla="*/ 68 h 125"/>
                <a:gd name="T68" fmla="*/ 106 w 106"/>
                <a:gd name="T69" fmla="*/ 7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25">
                  <a:moveTo>
                    <a:pt x="106" y="125"/>
                  </a:moveTo>
                  <a:lnTo>
                    <a:pt x="0" y="99"/>
                  </a:lnTo>
                  <a:lnTo>
                    <a:pt x="0" y="89"/>
                  </a:lnTo>
                  <a:lnTo>
                    <a:pt x="106" y="115"/>
                  </a:lnTo>
                  <a:lnTo>
                    <a:pt x="106" y="125"/>
                  </a:lnTo>
                  <a:close/>
                  <a:moveTo>
                    <a:pt x="106" y="108"/>
                  </a:moveTo>
                  <a:lnTo>
                    <a:pt x="0" y="82"/>
                  </a:lnTo>
                  <a:lnTo>
                    <a:pt x="0" y="73"/>
                  </a:lnTo>
                  <a:lnTo>
                    <a:pt x="106" y="101"/>
                  </a:lnTo>
                  <a:lnTo>
                    <a:pt x="106" y="108"/>
                  </a:lnTo>
                  <a:close/>
                  <a:moveTo>
                    <a:pt x="106" y="21"/>
                  </a:moveTo>
                  <a:lnTo>
                    <a:pt x="106" y="28"/>
                  </a:lnTo>
                  <a:lnTo>
                    <a:pt x="0" y="7"/>
                  </a:lnTo>
                  <a:lnTo>
                    <a:pt x="0" y="0"/>
                  </a:lnTo>
                  <a:lnTo>
                    <a:pt x="106" y="21"/>
                  </a:lnTo>
                  <a:close/>
                  <a:moveTo>
                    <a:pt x="106" y="94"/>
                  </a:moveTo>
                  <a:lnTo>
                    <a:pt x="0" y="66"/>
                  </a:lnTo>
                  <a:lnTo>
                    <a:pt x="0" y="59"/>
                  </a:lnTo>
                  <a:lnTo>
                    <a:pt x="106" y="85"/>
                  </a:lnTo>
                  <a:lnTo>
                    <a:pt x="106" y="94"/>
                  </a:lnTo>
                  <a:close/>
                  <a:moveTo>
                    <a:pt x="106" y="44"/>
                  </a:moveTo>
                  <a:lnTo>
                    <a:pt x="0" y="21"/>
                  </a:lnTo>
                  <a:lnTo>
                    <a:pt x="0" y="14"/>
                  </a:lnTo>
                  <a:lnTo>
                    <a:pt x="106" y="35"/>
                  </a:lnTo>
                  <a:lnTo>
                    <a:pt x="106" y="44"/>
                  </a:lnTo>
                  <a:close/>
                  <a:moveTo>
                    <a:pt x="106" y="61"/>
                  </a:moveTo>
                  <a:lnTo>
                    <a:pt x="0" y="37"/>
                  </a:lnTo>
                  <a:lnTo>
                    <a:pt x="0" y="28"/>
                  </a:lnTo>
                  <a:lnTo>
                    <a:pt x="106" y="52"/>
                  </a:lnTo>
                  <a:lnTo>
                    <a:pt x="106" y="61"/>
                  </a:lnTo>
                  <a:close/>
                  <a:moveTo>
                    <a:pt x="106" y="78"/>
                  </a:moveTo>
                  <a:lnTo>
                    <a:pt x="0" y="52"/>
                  </a:lnTo>
                  <a:lnTo>
                    <a:pt x="0" y="44"/>
                  </a:lnTo>
                  <a:lnTo>
                    <a:pt x="106" y="68"/>
                  </a:lnTo>
                  <a:lnTo>
                    <a:pt x="106" y="7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grpSp>
      <p:grpSp>
        <p:nvGrpSpPr>
          <p:cNvPr id="771" name="Group 770"/>
          <p:cNvGrpSpPr/>
          <p:nvPr/>
        </p:nvGrpSpPr>
        <p:grpSpPr>
          <a:xfrm>
            <a:off x="1722768" y="2845288"/>
            <a:ext cx="546275" cy="764746"/>
            <a:chOff x="2128838" y="2309813"/>
            <a:chExt cx="498475" cy="755650"/>
          </a:xfrm>
          <a:solidFill>
            <a:schemeClr val="accent3"/>
          </a:solidFill>
        </p:grpSpPr>
        <p:sp>
          <p:nvSpPr>
            <p:cNvPr id="772" name="Freeform 15"/>
            <p:cNvSpPr>
              <a:spLocks/>
            </p:cNvSpPr>
            <p:nvPr/>
          </p:nvSpPr>
          <p:spPr bwMode="auto">
            <a:xfrm>
              <a:off x="2128838" y="3001963"/>
              <a:ext cx="498475" cy="63500"/>
            </a:xfrm>
            <a:custGeom>
              <a:avLst/>
              <a:gdLst>
                <a:gd name="T0" fmla="*/ 157 w 314"/>
                <a:gd name="T1" fmla="*/ 0 h 40"/>
                <a:gd name="T2" fmla="*/ 0 w 314"/>
                <a:gd name="T3" fmla="*/ 0 h 40"/>
                <a:gd name="T4" fmla="*/ 0 w 314"/>
                <a:gd name="T5" fmla="*/ 40 h 40"/>
                <a:gd name="T6" fmla="*/ 314 w 314"/>
                <a:gd name="T7" fmla="*/ 40 h 40"/>
                <a:gd name="T8" fmla="*/ 314 w 314"/>
                <a:gd name="T9" fmla="*/ 0 h 40"/>
                <a:gd name="T10" fmla="*/ 157 w 314"/>
                <a:gd name="T11" fmla="*/ 0 h 40"/>
              </a:gdLst>
              <a:ahLst/>
              <a:cxnLst>
                <a:cxn ang="0">
                  <a:pos x="T0" y="T1"/>
                </a:cxn>
                <a:cxn ang="0">
                  <a:pos x="T2" y="T3"/>
                </a:cxn>
                <a:cxn ang="0">
                  <a:pos x="T4" y="T5"/>
                </a:cxn>
                <a:cxn ang="0">
                  <a:pos x="T6" y="T7"/>
                </a:cxn>
                <a:cxn ang="0">
                  <a:pos x="T8" y="T9"/>
                </a:cxn>
                <a:cxn ang="0">
                  <a:pos x="T10" y="T11"/>
                </a:cxn>
              </a:cxnLst>
              <a:rect l="0" t="0" r="r" b="b"/>
              <a:pathLst>
                <a:path w="314" h="40">
                  <a:moveTo>
                    <a:pt x="157" y="0"/>
                  </a:moveTo>
                  <a:lnTo>
                    <a:pt x="0" y="0"/>
                  </a:lnTo>
                  <a:lnTo>
                    <a:pt x="0" y="40"/>
                  </a:lnTo>
                  <a:lnTo>
                    <a:pt x="314" y="40"/>
                  </a:lnTo>
                  <a:lnTo>
                    <a:pt x="314" y="0"/>
                  </a:lnTo>
                  <a:lnTo>
                    <a:pt x="15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73" name="Oval 16"/>
            <p:cNvSpPr>
              <a:spLocks noChangeArrowheads="1"/>
            </p:cNvSpPr>
            <p:nvPr/>
          </p:nvSpPr>
          <p:spPr bwMode="auto">
            <a:xfrm>
              <a:off x="2282826" y="2460625"/>
              <a:ext cx="190500" cy="1889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74" name="Freeform 17"/>
            <p:cNvSpPr>
              <a:spLocks noEditPoints="1"/>
            </p:cNvSpPr>
            <p:nvPr/>
          </p:nvSpPr>
          <p:spPr bwMode="auto">
            <a:xfrm>
              <a:off x="2136776" y="2309813"/>
              <a:ext cx="484188" cy="692150"/>
            </a:xfrm>
            <a:custGeom>
              <a:avLst/>
              <a:gdLst>
                <a:gd name="T0" fmla="*/ 99 w 177"/>
                <a:gd name="T1" fmla="*/ 246 h 253"/>
                <a:gd name="T2" fmla="*/ 177 w 177"/>
                <a:gd name="T3" fmla="*/ 88 h 253"/>
                <a:gd name="T4" fmla="*/ 88 w 177"/>
                <a:gd name="T5" fmla="*/ 0 h 253"/>
                <a:gd name="T6" fmla="*/ 0 w 177"/>
                <a:gd name="T7" fmla="*/ 88 h 253"/>
                <a:gd name="T8" fmla="*/ 78 w 177"/>
                <a:gd name="T9" fmla="*/ 246 h 253"/>
                <a:gd name="T10" fmla="*/ 88 w 177"/>
                <a:gd name="T11" fmla="*/ 253 h 253"/>
                <a:gd name="T12" fmla="*/ 99 w 177"/>
                <a:gd name="T13" fmla="*/ 246 h 253"/>
                <a:gd name="T14" fmla="*/ 88 w 177"/>
                <a:gd name="T15" fmla="*/ 149 h 253"/>
                <a:gd name="T16" fmla="*/ 28 w 177"/>
                <a:gd name="T17" fmla="*/ 90 h 253"/>
                <a:gd name="T18" fmla="*/ 88 w 177"/>
                <a:gd name="T19" fmla="*/ 30 h 253"/>
                <a:gd name="T20" fmla="*/ 148 w 177"/>
                <a:gd name="T21" fmla="*/ 90 h 253"/>
                <a:gd name="T22" fmla="*/ 88 w 177"/>
                <a:gd name="T23" fmla="*/ 149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7" h="253">
                  <a:moveTo>
                    <a:pt x="99" y="246"/>
                  </a:moveTo>
                  <a:cubicBezTo>
                    <a:pt x="99" y="246"/>
                    <a:pt x="177" y="149"/>
                    <a:pt x="177" y="88"/>
                  </a:cubicBezTo>
                  <a:cubicBezTo>
                    <a:pt x="177" y="39"/>
                    <a:pt x="137" y="0"/>
                    <a:pt x="88" y="0"/>
                  </a:cubicBezTo>
                  <a:cubicBezTo>
                    <a:pt x="39" y="0"/>
                    <a:pt x="0" y="39"/>
                    <a:pt x="0" y="88"/>
                  </a:cubicBezTo>
                  <a:cubicBezTo>
                    <a:pt x="0" y="149"/>
                    <a:pt x="78" y="246"/>
                    <a:pt x="78" y="246"/>
                  </a:cubicBezTo>
                  <a:cubicBezTo>
                    <a:pt x="81" y="250"/>
                    <a:pt x="85" y="253"/>
                    <a:pt x="88" y="253"/>
                  </a:cubicBezTo>
                  <a:cubicBezTo>
                    <a:pt x="92" y="253"/>
                    <a:pt x="96" y="250"/>
                    <a:pt x="99" y="246"/>
                  </a:cubicBezTo>
                  <a:close/>
                  <a:moveTo>
                    <a:pt x="88" y="149"/>
                  </a:moveTo>
                  <a:cubicBezTo>
                    <a:pt x="55" y="149"/>
                    <a:pt x="28" y="123"/>
                    <a:pt x="28" y="90"/>
                  </a:cubicBezTo>
                  <a:cubicBezTo>
                    <a:pt x="28" y="57"/>
                    <a:pt x="55" y="30"/>
                    <a:pt x="88" y="30"/>
                  </a:cubicBezTo>
                  <a:cubicBezTo>
                    <a:pt x="121" y="30"/>
                    <a:pt x="148" y="57"/>
                    <a:pt x="148" y="90"/>
                  </a:cubicBezTo>
                  <a:cubicBezTo>
                    <a:pt x="148" y="123"/>
                    <a:pt x="121" y="149"/>
                    <a:pt x="8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grpSp>
      <p:sp>
        <p:nvSpPr>
          <p:cNvPr id="775" name="Freeform 18"/>
          <p:cNvSpPr>
            <a:spLocks noEditPoints="1"/>
          </p:cNvSpPr>
          <p:nvPr/>
        </p:nvSpPr>
        <p:spPr bwMode="auto">
          <a:xfrm>
            <a:off x="7238781" y="2836238"/>
            <a:ext cx="792251" cy="837191"/>
          </a:xfrm>
          <a:custGeom>
            <a:avLst/>
            <a:gdLst>
              <a:gd name="T0" fmla="*/ 12 w 111"/>
              <a:gd name="T1" fmla="*/ 109 h 127"/>
              <a:gd name="T2" fmla="*/ 3 w 111"/>
              <a:gd name="T3" fmla="*/ 108 h 127"/>
              <a:gd name="T4" fmla="*/ 54 w 111"/>
              <a:gd name="T5" fmla="*/ 120 h 127"/>
              <a:gd name="T6" fmla="*/ 63 w 111"/>
              <a:gd name="T7" fmla="*/ 97 h 127"/>
              <a:gd name="T8" fmla="*/ 54 w 111"/>
              <a:gd name="T9" fmla="*/ 79 h 127"/>
              <a:gd name="T10" fmla="*/ 3 w 111"/>
              <a:gd name="T11" fmla="*/ 67 h 127"/>
              <a:gd name="T12" fmla="*/ 12 w 111"/>
              <a:gd name="T13" fmla="*/ 90 h 127"/>
              <a:gd name="T14" fmla="*/ 63 w 111"/>
              <a:gd name="T15" fmla="*/ 77 h 127"/>
              <a:gd name="T16" fmla="*/ 54 w 111"/>
              <a:gd name="T17" fmla="*/ 79 h 127"/>
              <a:gd name="T18" fmla="*/ 12 w 111"/>
              <a:gd name="T19" fmla="*/ 94 h 127"/>
              <a:gd name="T20" fmla="*/ 3 w 111"/>
              <a:gd name="T21" fmla="*/ 93 h 127"/>
              <a:gd name="T22" fmla="*/ 54 w 111"/>
              <a:gd name="T23" fmla="*/ 105 h 127"/>
              <a:gd name="T24" fmla="*/ 63 w 111"/>
              <a:gd name="T25" fmla="*/ 82 h 127"/>
              <a:gd name="T26" fmla="*/ 12 w 111"/>
              <a:gd name="T27" fmla="*/ 73 h 127"/>
              <a:gd name="T28" fmla="*/ 54 w 111"/>
              <a:gd name="T29" fmla="*/ 49 h 127"/>
              <a:gd name="T30" fmla="*/ 12 w 111"/>
              <a:gd name="T31" fmla="*/ 73 h 127"/>
              <a:gd name="T32" fmla="*/ 100 w 111"/>
              <a:gd name="T33" fmla="*/ 31 h 127"/>
              <a:gd name="T34" fmla="*/ 58 w 111"/>
              <a:gd name="T35" fmla="*/ 7 h 127"/>
              <a:gd name="T36" fmla="*/ 100 w 111"/>
              <a:gd name="T37" fmla="*/ 82 h 127"/>
              <a:gd name="T38" fmla="*/ 67 w 111"/>
              <a:gd name="T39" fmla="*/ 96 h 127"/>
              <a:gd name="T40" fmla="*/ 108 w 111"/>
              <a:gd name="T41" fmla="*/ 81 h 127"/>
              <a:gd name="T42" fmla="*/ 100 w 111"/>
              <a:gd name="T43" fmla="*/ 82 h 127"/>
              <a:gd name="T44" fmla="*/ 67 w 111"/>
              <a:gd name="T45" fmla="*/ 56 h 127"/>
              <a:gd name="T46" fmla="*/ 100 w 111"/>
              <a:gd name="T47" fmla="*/ 62 h 127"/>
              <a:gd name="T48" fmla="*/ 108 w 111"/>
              <a:gd name="T49" fmla="*/ 40 h 127"/>
              <a:gd name="T50" fmla="*/ 100 w 111"/>
              <a:gd name="T51" fmla="*/ 37 h 127"/>
              <a:gd name="T52" fmla="*/ 49 w 111"/>
              <a:gd name="T53" fmla="*/ 25 h 127"/>
              <a:gd name="T54" fmla="*/ 58 w 111"/>
              <a:gd name="T55" fmla="*/ 47 h 127"/>
              <a:gd name="T56" fmla="*/ 108 w 111"/>
              <a:gd name="T57" fmla="*/ 35 h 127"/>
              <a:gd name="T58" fmla="*/ 100 w 111"/>
              <a:gd name="T59" fmla="*/ 37 h 127"/>
              <a:gd name="T60" fmla="*/ 67 w 111"/>
              <a:gd name="T61" fmla="*/ 71 h 127"/>
              <a:gd name="T62" fmla="*/ 100 w 111"/>
              <a:gd name="T63" fmla="*/ 78 h 127"/>
              <a:gd name="T64" fmla="*/ 108 w 111"/>
              <a:gd name="T65" fmla="*/ 55 h 127"/>
              <a:gd name="T66" fmla="*/ 100 w 111"/>
              <a:gd name="T67" fmla="*/ 97 h 127"/>
              <a:gd name="T68" fmla="*/ 67 w 111"/>
              <a:gd name="T69" fmla="*/ 112 h 127"/>
              <a:gd name="T70" fmla="*/ 108 w 111"/>
              <a:gd name="T71" fmla="*/ 96 h 127"/>
              <a:gd name="T72" fmla="*/ 100 w 111"/>
              <a:gd name="T73" fmla="*/ 9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127">
                <a:moveTo>
                  <a:pt x="54" y="109"/>
                </a:moveTo>
                <a:cubicBezTo>
                  <a:pt x="42" y="116"/>
                  <a:pt x="24" y="116"/>
                  <a:pt x="12" y="109"/>
                </a:cubicBezTo>
                <a:cubicBezTo>
                  <a:pt x="6" y="106"/>
                  <a:pt x="3" y="102"/>
                  <a:pt x="3" y="97"/>
                </a:cubicBezTo>
                <a:cubicBezTo>
                  <a:pt x="3" y="108"/>
                  <a:pt x="3" y="108"/>
                  <a:pt x="3" y="108"/>
                </a:cubicBezTo>
                <a:cubicBezTo>
                  <a:pt x="3" y="112"/>
                  <a:pt x="6" y="117"/>
                  <a:pt x="12" y="120"/>
                </a:cubicBezTo>
                <a:cubicBezTo>
                  <a:pt x="24" y="127"/>
                  <a:pt x="42" y="127"/>
                  <a:pt x="54" y="120"/>
                </a:cubicBezTo>
                <a:cubicBezTo>
                  <a:pt x="60" y="117"/>
                  <a:pt x="63" y="112"/>
                  <a:pt x="63" y="108"/>
                </a:cubicBezTo>
                <a:cubicBezTo>
                  <a:pt x="63" y="97"/>
                  <a:pt x="63" y="97"/>
                  <a:pt x="63" y="97"/>
                </a:cubicBezTo>
                <a:cubicBezTo>
                  <a:pt x="63" y="102"/>
                  <a:pt x="60" y="106"/>
                  <a:pt x="54" y="109"/>
                </a:cubicBezTo>
                <a:close/>
                <a:moveTo>
                  <a:pt x="54" y="79"/>
                </a:moveTo>
                <a:cubicBezTo>
                  <a:pt x="42" y="86"/>
                  <a:pt x="24" y="86"/>
                  <a:pt x="12" y="79"/>
                </a:cubicBezTo>
                <a:cubicBezTo>
                  <a:pt x="6" y="76"/>
                  <a:pt x="3" y="71"/>
                  <a:pt x="3" y="67"/>
                </a:cubicBezTo>
                <a:cubicBezTo>
                  <a:pt x="3" y="77"/>
                  <a:pt x="3" y="77"/>
                  <a:pt x="3" y="77"/>
                </a:cubicBezTo>
                <a:cubicBezTo>
                  <a:pt x="3" y="82"/>
                  <a:pt x="6" y="86"/>
                  <a:pt x="12" y="90"/>
                </a:cubicBezTo>
                <a:cubicBezTo>
                  <a:pt x="24" y="96"/>
                  <a:pt x="42" y="96"/>
                  <a:pt x="54" y="90"/>
                </a:cubicBezTo>
                <a:cubicBezTo>
                  <a:pt x="60" y="86"/>
                  <a:pt x="63" y="82"/>
                  <a:pt x="63" y="77"/>
                </a:cubicBezTo>
                <a:cubicBezTo>
                  <a:pt x="63" y="67"/>
                  <a:pt x="63" y="67"/>
                  <a:pt x="63" y="67"/>
                </a:cubicBezTo>
                <a:cubicBezTo>
                  <a:pt x="63" y="71"/>
                  <a:pt x="60" y="76"/>
                  <a:pt x="54" y="79"/>
                </a:cubicBezTo>
                <a:close/>
                <a:moveTo>
                  <a:pt x="54" y="94"/>
                </a:moveTo>
                <a:cubicBezTo>
                  <a:pt x="42" y="101"/>
                  <a:pt x="24" y="101"/>
                  <a:pt x="12" y="94"/>
                </a:cubicBezTo>
                <a:cubicBezTo>
                  <a:pt x="6" y="91"/>
                  <a:pt x="3" y="87"/>
                  <a:pt x="3" y="82"/>
                </a:cubicBezTo>
                <a:cubicBezTo>
                  <a:pt x="3" y="93"/>
                  <a:pt x="3" y="93"/>
                  <a:pt x="3" y="93"/>
                </a:cubicBezTo>
                <a:cubicBezTo>
                  <a:pt x="3" y="97"/>
                  <a:pt x="6" y="101"/>
                  <a:pt x="12" y="105"/>
                </a:cubicBezTo>
                <a:cubicBezTo>
                  <a:pt x="24" y="111"/>
                  <a:pt x="42" y="111"/>
                  <a:pt x="54" y="105"/>
                </a:cubicBezTo>
                <a:cubicBezTo>
                  <a:pt x="60" y="101"/>
                  <a:pt x="63" y="97"/>
                  <a:pt x="63" y="93"/>
                </a:cubicBezTo>
                <a:cubicBezTo>
                  <a:pt x="63" y="82"/>
                  <a:pt x="63" y="82"/>
                  <a:pt x="63" y="82"/>
                </a:cubicBezTo>
                <a:cubicBezTo>
                  <a:pt x="63" y="87"/>
                  <a:pt x="60" y="91"/>
                  <a:pt x="54" y="94"/>
                </a:cubicBezTo>
                <a:close/>
                <a:moveTo>
                  <a:pt x="12" y="73"/>
                </a:moveTo>
                <a:cubicBezTo>
                  <a:pt x="24" y="80"/>
                  <a:pt x="42" y="80"/>
                  <a:pt x="54" y="73"/>
                </a:cubicBezTo>
                <a:cubicBezTo>
                  <a:pt x="66" y="67"/>
                  <a:pt x="66" y="56"/>
                  <a:pt x="54" y="49"/>
                </a:cubicBezTo>
                <a:cubicBezTo>
                  <a:pt x="42" y="42"/>
                  <a:pt x="24" y="42"/>
                  <a:pt x="12" y="49"/>
                </a:cubicBezTo>
                <a:cubicBezTo>
                  <a:pt x="0" y="56"/>
                  <a:pt x="0" y="67"/>
                  <a:pt x="12" y="73"/>
                </a:cubicBezTo>
                <a:close/>
                <a:moveTo>
                  <a:pt x="58" y="31"/>
                </a:moveTo>
                <a:cubicBezTo>
                  <a:pt x="69" y="38"/>
                  <a:pt x="88" y="38"/>
                  <a:pt x="100" y="31"/>
                </a:cubicBezTo>
                <a:cubicBezTo>
                  <a:pt x="111" y="24"/>
                  <a:pt x="111" y="13"/>
                  <a:pt x="100" y="7"/>
                </a:cubicBezTo>
                <a:cubicBezTo>
                  <a:pt x="88" y="0"/>
                  <a:pt x="69" y="0"/>
                  <a:pt x="58" y="7"/>
                </a:cubicBezTo>
                <a:cubicBezTo>
                  <a:pt x="46" y="13"/>
                  <a:pt x="46" y="24"/>
                  <a:pt x="58" y="31"/>
                </a:cubicBezTo>
                <a:close/>
                <a:moveTo>
                  <a:pt x="100" y="82"/>
                </a:moveTo>
                <a:cubicBezTo>
                  <a:pt x="91" y="87"/>
                  <a:pt x="78" y="89"/>
                  <a:pt x="67" y="86"/>
                </a:cubicBezTo>
                <a:cubicBezTo>
                  <a:pt x="67" y="96"/>
                  <a:pt x="67" y="96"/>
                  <a:pt x="67" y="96"/>
                </a:cubicBezTo>
                <a:cubicBezTo>
                  <a:pt x="78" y="99"/>
                  <a:pt x="91" y="98"/>
                  <a:pt x="100" y="93"/>
                </a:cubicBezTo>
                <a:cubicBezTo>
                  <a:pt x="105" y="89"/>
                  <a:pt x="108" y="85"/>
                  <a:pt x="108" y="81"/>
                </a:cubicBezTo>
                <a:cubicBezTo>
                  <a:pt x="108" y="70"/>
                  <a:pt x="108" y="70"/>
                  <a:pt x="108" y="70"/>
                </a:cubicBezTo>
                <a:cubicBezTo>
                  <a:pt x="108" y="75"/>
                  <a:pt x="105" y="79"/>
                  <a:pt x="100" y="82"/>
                </a:cubicBezTo>
                <a:close/>
                <a:moveTo>
                  <a:pt x="100" y="52"/>
                </a:moveTo>
                <a:cubicBezTo>
                  <a:pt x="91" y="57"/>
                  <a:pt x="78" y="58"/>
                  <a:pt x="67" y="56"/>
                </a:cubicBezTo>
                <a:cubicBezTo>
                  <a:pt x="67" y="66"/>
                  <a:pt x="67" y="66"/>
                  <a:pt x="67" y="66"/>
                </a:cubicBezTo>
                <a:cubicBezTo>
                  <a:pt x="78" y="69"/>
                  <a:pt x="91" y="67"/>
                  <a:pt x="100" y="62"/>
                </a:cubicBezTo>
                <a:cubicBezTo>
                  <a:pt x="105" y="59"/>
                  <a:pt x="108" y="55"/>
                  <a:pt x="108" y="50"/>
                </a:cubicBezTo>
                <a:cubicBezTo>
                  <a:pt x="108" y="40"/>
                  <a:pt x="108" y="40"/>
                  <a:pt x="108" y="40"/>
                </a:cubicBezTo>
                <a:cubicBezTo>
                  <a:pt x="108" y="44"/>
                  <a:pt x="105" y="49"/>
                  <a:pt x="100" y="52"/>
                </a:cubicBezTo>
                <a:close/>
                <a:moveTo>
                  <a:pt x="100" y="37"/>
                </a:moveTo>
                <a:cubicBezTo>
                  <a:pt x="88" y="43"/>
                  <a:pt x="69" y="43"/>
                  <a:pt x="58" y="37"/>
                </a:cubicBezTo>
                <a:cubicBezTo>
                  <a:pt x="52" y="33"/>
                  <a:pt x="49" y="29"/>
                  <a:pt x="49" y="25"/>
                </a:cubicBezTo>
                <a:cubicBezTo>
                  <a:pt x="49" y="35"/>
                  <a:pt x="49" y="35"/>
                  <a:pt x="49" y="35"/>
                </a:cubicBezTo>
                <a:cubicBezTo>
                  <a:pt x="49" y="39"/>
                  <a:pt x="52" y="44"/>
                  <a:pt x="58" y="47"/>
                </a:cubicBezTo>
                <a:cubicBezTo>
                  <a:pt x="69" y="54"/>
                  <a:pt x="88" y="54"/>
                  <a:pt x="100" y="47"/>
                </a:cubicBezTo>
                <a:cubicBezTo>
                  <a:pt x="105" y="44"/>
                  <a:pt x="108" y="39"/>
                  <a:pt x="108" y="35"/>
                </a:cubicBezTo>
                <a:cubicBezTo>
                  <a:pt x="108" y="25"/>
                  <a:pt x="108" y="25"/>
                  <a:pt x="108" y="25"/>
                </a:cubicBezTo>
                <a:cubicBezTo>
                  <a:pt x="108" y="29"/>
                  <a:pt x="105" y="33"/>
                  <a:pt x="100" y="37"/>
                </a:cubicBezTo>
                <a:close/>
                <a:moveTo>
                  <a:pt x="100" y="67"/>
                </a:moveTo>
                <a:cubicBezTo>
                  <a:pt x="91" y="72"/>
                  <a:pt x="78" y="73"/>
                  <a:pt x="67" y="71"/>
                </a:cubicBezTo>
                <a:cubicBezTo>
                  <a:pt x="67" y="81"/>
                  <a:pt x="67" y="81"/>
                  <a:pt x="67" y="81"/>
                </a:cubicBezTo>
                <a:cubicBezTo>
                  <a:pt x="78" y="84"/>
                  <a:pt x="91" y="83"/>
                  <a:pt x="100" y="78"/>
                </a:cubicBezTo>
                <a:cubicBezTo>
                  <a:pt x="105" y="74"/>
                  <a:pt x="108" y="70"/>
                  <a:pt x="108" y="65"/>
                </a:cubicBezTo>
                <a:cubicBezTo>
                  <a:pt x="108" y="55"/>
                  <a:pt x="108" y="55"/>
                  <a:pt x="108" y="55"/>
                </a:cubicBezTo>
                <a:cubicBezTo>
                  <a:pt x="108" y="59"/>
                  <a:pt x="105" y="64"/>
                  <a:pt x="100" y="67"/>
                </a:cubicBezTo>
                <a:close/>
                <a:moveTo>
                  <a:pt x="100" y="97"/>
                </a:moveTo>
                <a:cubicBezTo>
                  <a:pt x="91" y="102"/>
                  <a:pt x="78" y="104"/>
                  <a:pt x="67" y="101"/>
                </a:cubicBezTo>
                <a:cubicBezTo>
                  <a:pt x="67" y="112"/>
                  <a:pt x="67" y="112"/>
                  <a:pt x="67" y="112"/>
                </a:cubicBezTo>
                <a:cubicBezTo>
                  <a:pt x="78" y="114"/>
                  <a:pt x="91" y="113"/>
                  <a:pt x="100" y="108"/>
                </a:cubicBezTo>
                <a:cubicBezTo>
                  <a:pt x="105" y="105"/>
                  <a:pt x="108" y="100"/>
                  <a:pt x="108" y="96"/>
                </a:cubicBezTo>
                <a:cubicBezTo>
                  <a:pt x="108" y="85"/>
                  <a:pt x="108" y="85"/>
                  <a:pt x="108" y="85"/>
                </a:cubicBezTo>
                <a:cubicBezTo>
                  <a:pt x="108" y="90"/>
                  <a:pt x="105" y="94"/>
                  <a:pt x="100" y="97"/>
                </a:cubicBezTo>
                <a:close/>
              </a:path>
            </a:pathLst>
          </a:custGeom>
          <a:solidFill>
            <a:schemeClr val="accent3"/>
          </a:solidFill>
          <a:ln>
            <a:noFill/>
          </a:ln>
          <a:extLst/>
        </p:spPr>
        <p:txBody>
          <a:bodyPr vert="horz" wrap="square" lIns="91440" tIns="45719" rIns="91440" bIns="45719" numCol="1" anchor="t" anchorCtr="0" compatLnSpc="1">
            <a:prstTxWarp prst="textNoShape">
              <a:avLst/>
            </a:prstTxWarp>
          </a:bodyPr>
          <a:lstStyle/>
          <a:p>
            <a:endParaRPr lang="es-CO" dirty="0"/>
          </a:p>
        </p:txBody>
      </p:sp>
      <p:grpSp>
        <p:nvGrpSpPr>
          <p:cNvPr id="776" name="Group 775"/>
          <p:cNvGrpSpPr/>
          <p:nvPr/>
        </p:nvGrpSpPr>
        <p:grpSpPr>
          <a:xfrm>
            <a:off x="4747434" y="1621038"/>
            <a:ext cx="323521" cy="324979"/>
            <a:chOff x="6462713" y="3625850"/>
            <a:chExt cx="352425" cy="354012"/>
          </a:xfrm>
          <a:solidFill>
            <a:schemeClr val="accent4"/>
          </a:solidFill>
        </p:grpSpPr>
        <p:sp>
          <p:nvSpPr>
            <p:cNvPr id="777" name="Freeform 81"/>
            <p:cNvSpPr>
              <a:spLocks/>
            </p:cNvSpPr>
            <p:nvPr/>
          </p:nvSpPr>
          <p:spPr bwMode="auto">
            <a:xfrm>
              <a:off x="6462713" y="3625850"/>
              <a:ext cx="352425" cy="354012"/>
            </a:xfrm>
            <a:custGeom>
              <a:avLst/>
              <a:gdLst>
                <a:gd name="T0" fmla="*/ 125 w 150"/>
                <a:gd name="T1" fmla="*/ 52 h 150"/>
                <a:gd name="T2" fmla="*/ 125 w 150"/>
                <a:gd name="T3" fmla="*/ 52 h 150"/>
                <a:gd name="T4" fmla="*/ 114 w 150"/>
                <a:gd name="T5" fmla="*/ 113 h 150"/>
                <a:gd name="T6" fmla="*/ 37 w 150"/>
                <a:gd name="T7" fmla="*/ 113 h 150"/>
                <a:gd name="T8" fmla="*/ 37 w 150"/>
                <a:gd name="T9" fmla="*/ 36 h 150"/>
                <a:gd name="T10" fmla="*/ 98 w 150"/>
                <a:gd name="T11" fmla="*/ 25 h 150"/>
                <a:gd name="T12" fmla="*/ 98 w 150"/>
                <a:gd name="T13" fmla="*/ 25 h 150"/>
                <a:gd name="T14" fmla="*/ 103 w 150"/>
                <a:gd name="T15" fmla="*/ 11 h 150"/>
                <a:gd name="T16" fmla="*/ 27 w 150"/>
                <a:gd name="T17" fmla="*/ 25 h 150"/>
                <a:gd name="T18" fmla="*/ 27 w 150"/>
                <a:gd name="T19" fmla="*/ 123 h 150"/>
                <a:gd name="T20" fmla="*/ 125 w 150"/>
                <a:gd name="T21" fmla="*/ 123 h 150"/>
                <a:gd name="T22" fmla="*/ 139 w 150"/>
                <a:gd name="T23" fmla="*/ 47 h 150"/>
                <a:gd name="T24" fmla="*/ 125 w 150"/>
                <a:gd name="T25" fmla="*/ 5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150">
                  <a:moveTo>
                    <a:pt x="125" y="52"/>
                  </a:moveTo>
                  <a:cubicBezTo>
                    <a:pt x="125" y="52"/>
                    <a:pt x="125" y="52"/>
                    <a:pt x="125" y="52"/>
                  </a:cubicBezTo>
                  <a:cubicBezTo>
                    <a:pt x="134" y="72"/>
                    <a:pt x="130" y="96"/>
                    <a:pt x="114" y="113"/>
                  </a:cubicBezTo>
                  <a:cubicBezTo>
                    <a:pt x="93" y="134"/>
                    <a:pt x="58" y="134"/>
                    <a:pt x="37" y="113"/>
                  </a:cubicBezTo>
                  <a:cubicBezTo>
                    <a:pt x="16" y="92"/>
                    <a:pt x="16" y="57"/>
                    <a:pt x="37" y="36"/>
                  </a:cubicBezTo>
                  <a:cubicBezTo>
                    <a:pt x="54" y="20"/>
                    <a:pt x="78" y="16"/>
                    <a:pt x="98" y="25"/>
                  </a:cubicBezTo>
                  <a:cubicBezTo>
                    <a:pt x="98" y="25"/>
                    <a:pt x="98" y="25"/>
                    <a:pt x="98" y="25"/>
                  </a:cubicBezTo>
                  <a:cubicBezTo>
                    <a:pt x="98" y="20"/>
                    <a:pt x="100" y="15"/>
                    <a:pt x="103" y="11"/>
                  </a:cubicBezTo>
                  <a:cubicBezTo>
                    <a:pt x="78" y="0"/>
                    <a:pt x="47" y="5"/>
                    <a:pt x="27" y="25"/>
                  </a:cubicBezTo>
                  <a:cubicBezTo>
                    <a:pt x="0" y="52"/>
                    <a:pt x="0" y="96"/>
                    <a:pt x="27" y="123"/>
                  </a:cubicBezTo>
                  <a:cubicBezTo>
                    <a:pt x="54" y="150"/>
                    <a:pt x="98" y="150"/>
                    <a:pt x="125" y="123"/>
                  </a:cubicBezTo>
                  <a:cubicBezTo>
                    <a:pt x="145" y="103"/>
                    <a:pt x="150" y="72"/>
                    <a:pt x="139" y="47"/>
                  </a:cubicBezTo>
                  <a:cubicBezTo>
                    <a:pt x="135" y="50"/>
                    <a:pt x="130" y="52"/>
                    <a:pt x="125"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78" name="Freeform 82"/>
            <p:cNvSpPr>
              <a:spLocks/>
            </p:cNvSpPr>
            <p:nvPr/>
          </p:nvSpPr>
          <p:spPr bwMode="auto">
            <a:xfrm>
              <a:off x="6540500" y="3702050"/>
              <a:ext cx="200025" cy="200025"/>
            </a:xfrm>
            <a:custGeom>
              <a:avLst/>
              <a:gdLst>
                <a:gd name="T0" fmla="*/ 60 w 85"/>
                <a:gd name="T1" fmla="*/ 60 h 85"/>
                <a:gd name="T2" fmla="*/ 25 w 85"/>
                <a:gd name="T3" fmla="*/ 60 h 85"/>
                <a:gd name="T4" fmla="*/ 25 w 85"/>
                <a:gd name="T5" fmla="*/ 25 h 85"/>
                <a:gd name="T6" fmla="*/ 45 w 85"/>
                <a:gd name="T7" fmla="*/ 18 h 85"/>
                <a:gd name="T8" fmla="*/ 57 w 85"/>
                <a:gd name="T9" fmla="*/ 6 h 85"/>
                <a:gd name="T10" fmla="*/ 15 w 85"/>
                <a:gd name="T11" fmla="*/ 15 h 85"/>
                <a:gd name="T12" fmla="*/ 15 w 85"/>
                <a:gd name="T13" fmla="*/ 70 h 85"/>
                <a:gd name="T14" fmla="*/ 70 w 85"/>
                <a:gd name="T15" fmla="*/ 70 h 85"/>
                <a:gd name="T16" fmla="*/ 79 w 85"/>
                <a:gd name="T17" fmla="*/ 28 h 85"/>
                <a:gd name="T18" fmla="*/ 67 w 85"/>
                <a:gd name="T19" fmla="*/ 40 h 85"/>
                <a:gd name="T20" fmla="*/ 60 w 85"/>
                <a:gd name="T21" fmla="*/ 6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85">
                  <a:moveTo>
                    <a:pt x="60" y="60"/>
                  </a:moveTo>
                  <a:cubicBezTo>
                    <a:pt x="50" y="69"/>
                    <a:pt x="35" y="69"/>
                    <a:pt x="25" y="60"/>
                  </a:cubicBezTo>
                  <a:cubicBezTo>
                    <a:pt x="16" y="50"/>
                    <a:pt x="16" y="35"/>
                    <a:pt x="25" y="25"/>
                  </a:cubicBezTo>
                  <a:cubicBezTo>
                    <a:pt x="31" y="20"/>
                    <a:pt x="38" y="18"/>
                    <a:pt x="45" y="18"/>
                  </a:cubicBezTo>
                  <a:cubicBezTo>
                    <a:pt x="57" y="6"/>
                    <a:pt x="57" y="6"/>
                    <a:pt x="57" y="6"/>
                  </a:cubicBezTo>
                  <a:cubicBezTo>
                    <a:pt x="43" y="0"/>
                    <a:pt x="26" y="3"/>
                    <a:pt x="15" y="15"/>
                  </a:cubicBezTo>
                  <a:cubicBezTo>
                    <a:pt x="0" y="30"/>
                    <a:pt x="0" y="55"/>
                    <a:pt x="15" y="70"/>
                  </a:cubicBezTo>
                  <a:cubicBezTo>
                    <a:pt x="30" y="85"/>
                    <a:pt x="55" y="85"/>
                    <a:pt x="70" y="70"/>
                  </a:cubicBezTo>
                  <a:cubicBezTo>
                    <a:pt x="82" y="59"/>
                    <a:pt x="85" y="42"/>
                    <a:pt x="79" y="28"/>
                  </a:cubicBezTo>
                  <a:cubicBezTo>
                    <a:pt x="67" y="40"/>
                    <a:pt x="67" y="40"/>
                    <a:pt x="67" y="40"/>
                  </a:cubicBezTo>
                  <a:cubicBezTo>
                    <a:pt x="67" y="47"/>
                    <a:pt x="65" y="54"/>
                    <a:pt x="60" y="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79" name="Freeform 83"/>
            <p:cNvSpPr>
              <a:spLocks/>
            </p:cNvSpPr>
            <p:nvPr/>
          </p:nvSpPr>
          <p:spPr bwMode="auto">
            <a:xfrm>
              <a:off x="6615113" y="3625850"/>
              <a:ext cx="200025" cy="200025"/>
            </a:xfrm>
            <a:custGeom>
              <a:avLst/>
              <a:gdLst>
                <a:gd name="T0" fmla="*/ 82 w 85"/>
                <a:gd name="T1" fmla="*/ 19 h 85"/>
                <a:gd name="T2" fmla="*/ 73 w 85"/>
                <a:gd name="T3" fmla="*/ 12 h 85"/>
                <a:gd name="T4" fmla="*/ 66 w 85"/>
                <a:gd name="T5" fmla="*/ 3 h 85"/>
                <a:gd name="T6" fmla="*/ 63 w 85"/>
                <a:gd name="T7" fmla="*/ 2 h 85"/>
                <a:gd name="T8" fmla="*/ 48 w 85"/>
                <a:gd name="T9" fmla="*/ 17 h 85"/>
                <a:gd name="T10" fmla="*/ 45 w 85"/>
                <a:gd name="T11" fmla="*/ 25 h 85"/>
                <a:gd name="T12" fmla="*/ 45 w 85"/>
                <a:gd name="T13" fmla="*/ 34 h 85"/>
                <a:gd name="T14" fmla="*/ 13 w 85"/>
                <a:gd name="T15" fmla="*/ 65 h 85"/>
                <a:gd name="T16" fmla="*/ 4 w 85"/>
                <a:gd name="T17" fmla="*/ 68 h 85"/>
                <a:gd name="T18" fmla="*/ 4 w 85"/>
                <a:gd name="T19" fmla="*/ 81 h 85"/>
                <a:gd name="T20" fmla="*/ 17 w 85"/>
                <a:gd name="T21" fmla="*/ 81 h 85"/>
                <a:gd name="T22" fmla="*/ 20 w 85"/>
                <a:gd name="T23" fmla="*/ 72 h 85"/>
                <a:gd name="T24" fmla="*/ 51 w 85"/>
                <a:gd name="T25" fmla="*/ 40 h 85"/>
                <a:gd name="T26" fmla="*/ 51 w 85"/>
                <a:gd name="T27" fmla="*/ 40 h 85"/>
                <a:gd name="T28" fmla="*/ 60 w 85"/>
                <a:gd name="T29" fmla="*/ 40 h 85"/>
                <a:gd name="T30" fmla="*/ 68 w 85"/>
                <a:gd name="T31" fmla="*/ 37 h 85"/>
                <a:gd name="T32" fmla="*/ 83 w 85"/>
                <a:gd name="T33" fmla="*/ 22 h 85"/>
                <a:gd name="T34" fmla="*/ 82 w 85"/>
                <a:gd name="T35" fmla="*/ 1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85">
                  <a:moveTo>
                    <a:pt x="82" y="19"/>
                  </a:moveTo>
                  <a:cubicBezTo>
                    <a:pt x="73" y="12"/>
                    <a:pt x="73" y="12"/>
                    <a:pt x="73" y="12"/>
                  </a:cubicBezTo>
                  <a:cubicBezTo>
                    <a:pt x="66" y="3"/>
                    <a:pt x="66" y="3"/>
                    <a:pt x="66" y="3"/>
                  </a:cubicBezTo>
                  <a:cubicBezTo>
                    <a:pt x="66" y="0"/>
                    <a:pt x="65" y="0"/>
                    <a:pt x="63" y="2"/>
                  </a:cubicBezTo>
                  <a:cubicBezTo>
                    <a:pt x="48" y="17"/>
                    <a:pt x="48" y="17"/>
                    <a:pt x="48" y="17"/>
                  </a:cubicBezTo>
                  <a:cubicBezTo>
                    <a:pt x="46" y="19"/>
                    <a:pt x="45" y="22"/>
                    <a:pt x="45" y="25"/>
                  </a:cubicBezTo>
                  <a:cubicBezTo>
                    <a:pt x="45" y="34"/>
                    <a:pt x="45" y="34"/>
                    <a:pt x="45" y="34"/>
                  </a:cubicBezTo>
                  <a:cubicBezTo>
                    <a:pt x="13" y="65"/>
                    <a:pt x="13" y="65"/>
                    <a:pt x="13" y="65"/>
                  </a:cubicBezTo>
                  <a:cubicBezTo>
                    <a:pt x="10" y="64"/>
                    <a:pt x="7" y="65"/>
                    <a:pt x="4" y="68"/>
                  </a:cubicBezTo>
                  <a:cubicBezTo>
                    <a:pt x="0" y="71"/>
                    <a:pt x="0" y="77"/>
                    <a:pt x="4" y="81"/>
                  </a:cubicBezTo>
                  <a:cubicBezTo>
                    <a:pt x="8" y="85"/>
                    <a:pt x="14" y="85"/>
                    <a:pt x="17" y="81"/>
                  </a:cubicBezTo>
                  <a:cubicBezTo>
                    <a:pt x="20" y="78"/>
                    <a:pt x="21" y="75"/>
                    <a:pt x="20" y="72"/>
                  </a:cubicBezTo>
                  <a:cubicBezTo>
                    <a:pt x="51" y="40"/>
                    <a:pt x="51" y="40"/>
                    <a:pt x="51" y="40"/>
                  </a:cubicBezTo>
                  <a:cubicBezTo>
                    <a:pt x="51" y="40"/>
                    <a:pt x="51" y="40"/>
                    <a:pt x="51" y="40"/>
                  </a:cubicBezTo>
                  <a:cubicBezTo>
                    <a:pt x="60" y="40"/>
                    <a:pt x="60" y="40"/>
                    <a:pt x="60" y="40"/>
                  </a:cubicBezTo>
                  <a:cubicBezTo>
                    <a:pt x="63" y="40"/>
                    <a:pt x="66" y="39"/>
                    <a:pt x="68" y="37"/>
                  </a:cubicBezTo>
                  <a:cubicBezTo>
                    <a:pt x="83" y="22"/>
                    <a:pt x="83" y="22"/>
                    <a:pt x="83" y="22"/>
                  </a:cubicBezTo>
                  <a:cubicBezTo>
                    <a:pt x="85" y="20"/>
                    <a:pt x="85" y="19"/>
                    <a:pt x="82"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grpSp>
      <p:grpSp>
        <p:nvGrpSpPr>
          <p:cNvPr id="780" name="Group 779"/>
          <p:cNvGrpSpPr/>
          <p:nvPr/>
        </p:nvGrpSpPr>
        <p:grpSpPr>
          <a:xfrm>
            <a:off x="5219636" y="5540302"/>
            <a:ext cx="308183" cy="298642"/>
            <a:chOff x="4819651" y="3703638"/>
            <a:chExt cx="788988" cy="787400"/>
          </a:xfrm>
          <a:solidFill>
            <a:schemeClr val="accent4"/>
          </a:solidFill>
        </p:grpSpPr>
        <p:sp>
          <p:nvSpPr>
            <p:cNvPr id="781" name="Freeform 9"/>
            <p:cNvSpPr>
              <a:spLocks noEditPoints="1"/>
            </p:cNvSpPr>
            <p:nvPr/>
          </p:nvSpPr>
          <p:spPr bwMode="auto">
            <a:xfrm>
              <a:off x="4819651" y="3703638"/>
              <a:ext cx="788988" cy="78740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7 h 288"/>
                <a:gd name="T12" fmla="*/ 31 w 288"/>
                <a:gd name="T13" fmla="*/ 144 h 288"/>
                <a:gd name="T14" fmla="*/ 144 w 288"/>
                <a:gd name="T15" fmla="*/ 31 h 288"/>
                <a:gd name="T16" fmla="*/ 257 w 288"/>
                <a:gd name="T17" fmla="*/ 144 h 288"/>
                <a:gd name="T18" fmla="*/ 144 w 288"/>
                <a:gd name="T19" fmla="*/ 25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5"/>
                    <a:pt x="0" y="144"/>
                  </a:cubicBezTo>
                  <a:cubicBezTo>
                    <a:pt x="0" y="224"/>
                    <a:pt x="64" y="288"/>
                    <a:pt x="144" y="288"/>
                  </a:cubicBezTo>
                  <a:cubicBezTo>
                    <a:pt x="223" y="288"/>
                    <a:pt x="288" y="224"/>
                    <a:pt x="288" y="144"/>
                  </a:cubicBezTo>
                  <a:cubicBezTo>
                    <a:pt x="288" y="65"/>
                    <a:pt x="223" y="0"/>
                    <a:pt x="144" y="0"/>
                  </a:cubicBezTo>
                  <a:close/>
                  <a:moveTo>
                    <a:pt x="144" y="257"/>
                  </a:moveTo>
                  <a:cubicBezTo>
                    <a:pt x="81" y="257"/>
                    <a:pt x="31" y="207"/>
                    <a:pt x="31" y="144"/>
                  </a:cubicBezTo>
                  <a:cubicBezTo>
                    <a:pt x="31" y="82"/>
                    <a:pt x="81" y="31"/>
                    <a:pt x="144" y="31"/>
                  </a:cubicBezTo>
                  <a:cubicBezTo>
                    <a:pt x="206" y="31"/>
                    <a:pt x="257" y="82"/>
                    <a:pt x="257" y="144"/>
                  </a:cubicBezTo>
                  <a:cubicBezTo>
                    <a:pt x="257" y="207"/>
                    <a:pt x="206" y="257"/>
                    <a:pt x="144" y="25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82" name="Oval 10"/>
            <p:cNvSpPr>
              <a:spLocks noChangeArrowheads="1"/>
            </p:cNvSpPr>
            <p:nvPr/>
          </p:nvSpPr>
          <p:spPr bwMode="auto">
            <a:xfrm>
              <a:off x="5064126" y="3938588"/>
              <a:ext cx="80963" cy="17462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83" name="Oval 11"/>
            <p:cNvSpPr>
              <a:spLocks noChangeArrowheads="1"/>
            </p:cNvSpPr>
            <p:nvPr/>
          </p:nvSpPr>
          <p:spPr bwMode="auto">
            <a:xfrm>
              <a:off x="5281613" y="3938588"/>
              <a:ext cx="79375" cy="17462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84" name="Freeform 12"/>
            <p:cNvSpPr>
              <a:spLocks noEditPoints="1"/>
            </p:cNvSpPr>
            <p:nvPr/>
          </p:nvSpPr>
          <p:spPr bwMode="auto">
            <a:xfrm>
              <a:off x="4973638" y="4138613"/>
              <a:ext cx="477838" cy="211138"/>
            </a:xfrm>
            <a:custGeom>
              <a:avLst/>
              <a:gdLst>
                <a:gd name="T0" fmla="*/ 172 w 175"/>
                <a:gd name="T1" fmla="*/ 4 h 77"/>
                <a:gd name="T2" fmla="*/ 169 w 175"/>
                <a:gd name="T3" fmla="*/ 1 h 77"/>
                <a:gd name="T4" fmla="*/ 159 w 175"/>
                <a:gd name="T5" fmla="*/ 4 h 77"/>
                <a:gd name="T6" fmla="*/ 156 w 175"/>
                <a:gd name="T7" fmla="*/ 8 h 77"/>
                <a:gd name="T8" fmla="*/ 156 w 175"/>
                <a:gd name="T9" fmla="*/ 9 h 77"/>
                <a:gd name="T10" fmla="*/ 88 w 175"/>
                <a:gd name="T11" fmla="*/ 29 h 77"/>
                <a:gd name="T12" fmla="*/ 19 w 175"/>
                <a:gd name="T13" fmla="*/ 9 h 77"/>
                <a:gd name="T14" fmla="*/ 19 w 175"/>
                <a:gd name="T15" fmla="*/ 8 h 77"/>
                <a:gd name="T16" fmla="*/ 17 w 175"/>
                <a:gd name="T17" fmla="*/ 4 h 77"/>
                <a:gd name="T18" fmla="*/ 7 w 175"/>
                <a:gd name="T19" fmla="*/ 1 h 77"/>
                <a:gd name="T20" fmla="*/ 3 w 175"/>
                <a:gd name="T21" fmla="*/ 4 h 77"/>
                <a:gd name="T22" fmla="*/ 1 w 175"/>
                <a:gd name="T23" fmla="*/ 14 h 77"/>
                <a:gd name="T24" fmla="*/ 88 w 175"/>
                <a:gd name="T25" fmla="*/ 77 h 77"/>
                <a:gd name="T26" fmla="*/ 174 w 175"/>
                <a:gd name="T27" fmla="*/ 14 h 77"/>
                <a:gd name="T28" fmla="*/ 172 w 175"/>
                <a:gd name="T29" fmla="*/ 4 h 77"/>
                <a:gd name="T30" fmla="*/ 88 w 175"/>
                <a:gd name="T31" fmla="*/ 58 h 77"/>
                <a:gd name="T32" fmla="*/ 41 w 175"/>
                <a:gd name="T33" fmla="*/ 41 h 77"/>
                <a:gd name="T34" fmla="*/ 88 w 175"/>
                <a:gd name="T35" fmla="*/ 45 h 77"/>
                <a:gd name="T36" fmla="*/ 134 w 175"/>
                <a:gd name="T37" fmla="*/ 41 h 77"/>
                <a:gd name="T38" fmla="*/ 88 w 175"/>
                <a:gd name="T39"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5" h="77">
                  <a:moveTo>
                    <a:pt x="172" y="4"/>
                  </a:moveTo>
                  <a:cubicBezTo>
                    <a:pt x="171" y="3"/>
                    <a:pt x="170" y="2"/>
                    <a:pt x="169" y="1"/>
                  </a:cubicBezTo>
                  <a:cubicBezTo>
                    <a:pt x="165" y="0"/>
                    <a:pt x="161" y="1"/>
                    <a:pt x="159" y="4"/>
                  </a:cubicBezTo>
                  <a:cubicBezTo>
                    <a:pt x="158" y="5"/>
                    <a:pt x="157" y="7"/>
                    <a:pt x="156" y="8"/>
                  </a:cubicBezTo>
                  <a:cubicBezTo>
                    <a:pt x="156" y="8"/>
                    <a:pt x="156" y="9"/>
                    <a:pt x="156" y="9"/>
                  </a:cubicBezTo>
                  <a:cubicBezTo>
                    <a:pt x="146" y="25"/>
                    <a:pt x="122" y="29"/>
                    <a:pt x="88" y="29"/>
                  </a:cubicBezTo>
                  <a:cubicBezTo>
                    <a:pt x="53" y="29"/>
                    <a:pt x="29" y="25"/>
                    <a:pt x="19" y="9"/>
                  </a:cubicBezTo>
                  <a:cubicBezTo>
                    <a:pt x="19" y="9"/>
                    <a:pt x="19" y="8"/>
                    <a:pt x="19" y="8"/>
                  </a:cubicBezTo>
                  <a:cubicBezTo>
                    <a:pt x="18" y="7"/>
                    <a:pt x="18" y="5"/>
                    <a:pt x="17" y="4"/>
                  </a:cubicBezTo>
                  <a:cubicBezTo>
                    <a:pt x="14" y="1"/>
                    <a:pt x="10" y="0"/>
                    <a:pt x="7" y="1"/>
                  </a:cubicBezTo>
                  <a:cubicBezTo>
                    <a:pt x="5" y="2"/>
                    <a:pt x="4" y="3"/>
                    <a:pt x="3" y="4"/>
                  </a:cubicBezTo>
                  <a:cubicBezTo>
                    <a:pt x="1" y="7"/>
                    <a:pt x="0" y="10"/>
                    <a:pt x="1" y="14"/>
                  </a:cubicBezTo>
                  <a:cubicBezTo>
                    <a:pt x="13" y="51"/>
                    <a:pt x="48" y="77"/>
                    <a:pt x="88" y="77"/>
                  </a:cubicBezTo>
                  <a:cubicBezTo>
                    <a:pt x="127" y="77"/>
                    <a:pt x="162" y="51"/>
                    <a:pt x="174" y="14"/>
                  </a:cubicBezTo>
                  <a:cubicBezTo>
                    <a:pt x="175" y="10"/>
                    <a:pt x="174" y="7"/>
                    <a:pt x="172" y="4"/>
                  </a:cubicBezTo>
                  <a:close/>
                  <a:moveTo>
                    <a:pt x="88" y="58"/>
                  </a:moveTo>
                  <a:cubicBezTo>
                    <a:pt x="70" y="58"/>
                    <a:pt x="54" y="51"/>
                    <a:pt x="41" y="41"/>
                  </a:cubicBezTo>
                  <a:cubicBezTo>
                    <a:pt x="55" y="44"/>
                    <a:pt x="72" y="45"/>
                    <a:pt x="88" y="45"/>
                  </a:cubicBezTo>
                  <a:cubicBezTo>
                    <a:pt x="103" y="45"/>
                    <a:pt x="120" y="44"/>
                    <a:pt x="134" y="41"/>
                  </a:cubicBezTo>
                  <a:cubicBezTo>
                    <a:pt x="122" y="51"/>
                    <a:pt x="105" y="58"/>
                    <a:pt x="88" y="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grpSp>
      <p:grpSp>
        <p:nvGrpSpPr>
          <p:cNvPr id="785" name="Group 784"/>
          <p:cNvGrpSpPr/>
          <p:nvPr/>
        </p:nvGrpSpPr>
        <p:grpSpPr>
          <a:xfrm>
            <a:off x="4618631" y="5984035"/>
            <a:ext cx="334409" cy="335273"/>
            <a:chOff x="6142038" y="3525838"/>
            <a:chExt cx="688975" cy="750888"/>
          </a:xfrm>
          <a:solidFill>
            <a:schemeClr val="accent4"/>
          </a:solidFill>
        </p:grpSpPr>
        <p:sp>
          <p:nvSpPr>
            <p:cNvPr id="786" name="Freeform 48"/>
            <p:cNvSpPr>
              <a:spLocks noEditPoints="1"/>
            </p:cNvSpPr>
            <p:nvPr/>
          </p:nvSpPr>
          <p:spPr bwMode="auto">
            <a:xfrm>
              <a:off x="6257925" y="3525838"/>
              <a:ext cx="449262" cy="450850"/>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41 w 120"/>
                <a:gd name="T11" fmla="*/ 11 h 120"/>
                <a:gd name="T12" fmla="*/ 30 w 120"/>
                <a:gd name="T13" fmla="*/ 39 h 120"/>
                <a:gd name="T14" fmla="*/ 12 w 120"/>
                <a:gd name="T15" fmla="*/ 39 h 120"/>
                <a:gd name="T16" fmla="*/ 41 w 120"/>
                <a:gd name="T17" fmla="*/ 11 h 120"/>
                <a:gd name="T18" fmla="*/ 8 w 120"/>
                <a:gd name="T19" fmla="*/ 60 h 120"/>
                <a:gd name="T20" fmla="*/ 10 w 120"/>
                <a:gd name="T21" fmla="*/ 47 h 120"/>
                <a:gd name="T22" fmla="*/ 29 w 120"/>
                <a:gd name="T23" fmla="*/ 47 h 120"/>
                <a:gd name="T24" fmla="*/ 28 w 120"/>
                <a:gd name="T25" fmla="*/ 60 h 120"/>
                <a:gd name="T26" fmla="*/ 29 w 120"/>
                <a:gd name="T27" fmla="*/ 72 h 120"/>
                <a:gd name="T28" fmla="*/ 10 w 120"/>
                <a:gd name="T29" fmla="*/ 72 h 120"/>
                <a:gd name="T30" fmla="*/ 8 w 120"/>
                <a:gd name="T31" fmla="*/ 60 h 120"/>
                <a:gd name="T32" fmla="*/ 12 w 120"/>
                <a:gd name="T33" fmla="*/ 80 h 120"/>
                <a:gd name="T34" fmla="*/ 30 w 120"/>
                <a:gd name="T35" fmla="*/ 80 h 120"/>
                <a:gd name="T36" fmla="*/ 41 w 120"/>
                <a:gd name="T37" fmla="*/ 108 h 120"/>
                <a:gd name="T38" fmla="*/ 12 w 120"/>
                <a:gd name="T39" fmla="*/ 80 h 120"/>
                <a:gd name="T40" fmla="*/ 56 w 120"/>
                <a:gd name="T41" fmla="*/ 111 h 120"/>
                <a:gd name="T42" fmla="*/ 38 w 120"/>
                <a:gd name="T43" fmla="*/ 80 h 120"/>
                <a:gd name="T44" fmla="*/ 56 w 120"/>
                <a:gd name="T45" fmla="*/ 80 h 120"/>
                <a:gd name="T46" fmla="*/ 56 w 120"/>
                <a:gd name="T47" fmla="*/ 111 h 120"/>
                <a:gd name="T48" fmla="*/ 56 w 120"/>
                <a:gd name="T49" fmla="*/ 72 h 120"/>
                <a:gd name="T50" fmla="*/ 37 w 120"/>
                <a:gd name="T51" fmla="*/ 72 h 120"/>
                <a:gd name="T52" fmla="*/ 36 w 120"/>
                <a:gd name="T53" fmla="*/ 60 h 120"/>
                <a:gd name="T54" fmla="*/ 37 w 120"/>
                <a:gd name="T55" fmla="*/ 47 h 120"/>
                <a:gd name="T56" fmla="*/ 56 w 120"/>
                <a:gd name="T57" fmla="*/ 47 h 120"/>
                <a:gd name="T58" fmla="*/ 56 w 120"/>
                <a:gd name="T59" fmla="*/ 72 h 120"/>
                <a:gd name="T60" fmla="*/ 56 w 120"/>
                <a:gd name="T61" fmla="*/ 39 h 120"/>
                <a:gd name="T62" fmla="*/ 38 w 120"/>
                <a:gd name="T63" fmla="*/ 39 h 120"/>
                <a:gd name="T64" fmla="*/ 56 w 120"/>
                <a:gd name="T65" fmla="*/ 8 h 120"/>
                <a:gd name="T66" fmla="*/ 56 w 120"/>
                <a:gd name="T67" fmla="*/ 39 h 120"/>
                <a:gd name="T68" fmla="*/ 108 w 120"/>
                <a:gd name="T69" fmla="*/ 39 h 120"/>
                <a:gd name="T70" fmla="*/ 90 w 120"/>
                <a:gd name="T71" fmla="*/ 39 h 120"/>
                <a:gd name="T72" fmla="*/ 79 w 120"/>
                <a:gd name="T73" fmla="*/ 11 h 120"/>
                <a:gd name="T74" fmla="*/ 108 w 120"/>
                <a:gd name="T75" fmla="*/ 39 h 120"/>
                <a:gd name="T76" fmla="*/ 64 w 120"/>
                <a:gd name="T77" fmla="*/ 8 h 120"/>
                <a:gd name="T78" fmla="*/ 82 w 120"/>
                <a:gd name="T79" fmla="*/ 39 h 120"/>
                <a:gd name="T80" fmla="*/ 64 w 120"/>
                <a:gd name="T81" fmla="*/ 39 h 120"/>
                <a:gd name="T82" fmla="*/ 64 w 120"/>
                <a:gd name="T83" fmla="*/ 8 h 120"/>
                <a:gd name="T84" fmla="*/ 64 w 120"/>
                <a:gd name="T85" fmla="*/ 47 h 120"/>
                <a:gd name="T86" fmla="*/ 83 w 120"/>
                <a:gd name="T87" fmla="*/ 47 h 120"/>
                <a:gd name="T88" fmla="*/ 84 w 120"/>
                <a:gd name="T89" fmla="*/ 60 h 120"/>
                <a:gd name="T90" fmla="*/ 83 w 120"/>
                <a:gd name="T91" fmla="*/ 72 h 120"/>
                <a:gd name="T92" fmla="*/ 64 w 120"/>
                <a:gd name="T93" fmla="*/ 72 h 120"/>
                <a:gd name="T94" fmla="*/ 64 w 120"/>
                <a:gd name="T95" fmla="*/ 47 h 120"/>
                <a:gd name="T96" fmla="*/ 64 w 120"/>
                <a:gd name="T97" fmla="*/ 111 h 120"/>
                <a:gd name="T98" fmla="*/ 64 w 120"/>
                <a:gd name="T99" fmla="*/ 80 h 120"/>
                <a:gd name="T100" fmla="*/ 82 w 120"/>
                <a:gd name="T101" fmla="*/ 80 h 120"/>
                <a:gd name="T102" fmla="*/ 64 w 120"/>
                <a:gd name="T103" fmla="*/ 111 h 120"/>
                <a:gd name="T104" fmla="*/ 79 w 120"/>
                <a:gd name="T105" fmla="*/ 108 h 120"/>
                <a:gd name="T106" fmla="*/ 90 w 120"/>
                <a:gd name="T107" fmla="*/ 80 h 120"/>
                <a:gd name="T108" fmla="*/ 108 w 120"/>
                <a:gd name="T109" fmla="*/ 80 h 120"/>
                <a:gd name="T110" fmla="*/ 79 w 120"/>
                <a:gd name="T111" fmla="*/ 108 h 120"/>
                <a:gd name="T112" fmla="*/ 91 w 120"/>
                <a:gd name="T113" fmla="*/ 72 h 120"/>
                <a:gd name="T114" fmla="*/ 92 w 120"/>
                <a:gd name="T115" fmla="*/ 60 h 120"/>
                <a:gd name="T116" fmla="*/ 91 w 120"/>
                <a:gd name="T117" fmla="*/ 47 h 120"/>
                <a:gd name="T118" fmla="*/ 110 w 120"/>
                <a:gd name="T119" fmla="*/ 47 h 120"/>
                <a:gd name="T120" fmla="*/ 112 w 120"/>
                <a:gd name="T121" fmla="*/ 60 h 120"/>
                <a:gd name="T122" fmla="*/ 110 w 120"/>
                <a:gd name="T123" fmla="*/ 72 h 120"/>
                <a:gd name="T124" fmla="*/ 91 w 120"/>
                <a:gd name="T125"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 h="120">
                  <a:moveTo>
                    <a:pt x="60" y="0"/>
                  </a:moveTo>
                  <a:cubicBezTo>
                    <a:pt x="27" y="0"/>
                    <a:pt x="0" y="26"/>
                    <a:pt x="0" y="60"/>
                  </a:cubicBezTo>
                  <a:cubicBezTo>
                    <a:pt x="0" y="93"/>
                    <a:pt x="27" y="120"/>
                    <a:pt x="60" y="120"/>
                  </a:cubicBezTo>
                  <a:cubicBezTo>
                    <a:pt x="93" y="120"/>
                    <a:pt x="120" y="93"/>
                    <a:pt x="120" y="60"/>
                  </a:cubicBezTo>
                  <a:cubicBezTo>
                    <a:pt x="120" y="26"/>
                    <a:pt x="93" y="0"/>
                    <a:pt x="60" y="0"/>
                  </a:cubicBezTo>
                  <a:close/>
                  <a:moveTo>
                    <a:pt x="41" y="11"/>
                  </a:moveTo>
                  <a:cubicBezTo>
                    <a:pt x="36" y="18"/>
                    <a:pt x="33" y="28"/>
                    <a:pt x="30" y="39"/>
                  </a:cubicBezTo>
                  <a:cubicBezTo>
                    <a:pt x="12" y="39"/>
                    <a:pt x="12" y="39"/>
                    <a:pt x="12" y="39"/>
                  </a:cubicBezTo>
                  <a:cubicBezTo>
                    <a:pt x="18" y="26"/>
                    <a:pt x="28" y="16"/>
                    <a:pt x="41" y="11"/>
                  </a:cubicBezTo>
                  <a:close/>
                  <a:moveTo>
                    <a:pt x="8" y="60"/>
                  </a:moveTo>
                  <a:cubicBezTo>
                    <a:pt x="8" y="55"/>
                    <a:pt x="9" y="51"/>
                    <a:pt x="10" y="47"/>
                  </a:cubicBezTo>
                  <a:cubicBezTo>
                    <a:pt x="29" y="47"/>
                    <a:pt x="29" y="47"/>
                    <a:pt x="29" y="47"/>
                  </a:cubicBezTo>
                  <a:cubicBezTo>
                    <a:pt x="29" y="51"/>
                    <a:pt x="28" y="55"/>
                    <a:pt x="28" y="60"/>
                  </a:cubicBezTo>
                  <a:cubicBezTo>
                    <a:pt x="28" y="64"/>
                    <a:pt x="29" y="68"/>
                    <a:pt x="29" y="72"/>
                  </a:cubicBezTo>
                  <a:cubicBezTo>
                    <a:pt x="10" y="72"/>
                    <a:pt x="10" y="72"/>
                    <a:pt x="10" y="72"/>
                  </a:cubicBezTo>
                  <a:cubicBezTo>
                    <a:pt x="9" y="68"/>
                    <a:pt x="8" y="64"/>
                    <a:pt x="8" y="60"/>
                  </a:cubicBezTo>
                  <a:close/>
                  <a:moveTo>
                    <a:pt x="12" y="80"/>
                  </a:moveTo>
                  <a:cubicBezTo>
                    <a:pt x="30" y="80"/>
                    <a:pt x="30" y="80"/>
                    <a:pt x="30" y="80"/>
                  </a:cubicBezTo>
                  <a:cubicBezTo>
                    <a:pt x="33" y="92"/>
                    <a:pt x="36" y="101"/>
                    <a:pt x="41" y="108"/>
                  </a:cubicBezTo>
                  <a:cubicBezTo>
                    <a:pt x="28" y="103"/>
                    <a:pt x="18" y="93"/>
                    <a:pt x="12" y="80"/>
                  </a:cubicBezTo>
                  <a:close/>
                  <a:moveTo>
                    <a:pt x="56" y="111"/>
                  </a:moveTo>
                  <a:cubicBezTo>
                    <a:pt x="49" y="107"/>
                    <a:pt x="42" y="96"/>
                    <a:pt x="38" y="80"/>
                  </a:cubicBezTo>
                  <a:cubicBezTo>
                    <a:pt x="56" y="80"/>
                    <a:pt x="56" y="80"/>
                    <a:pt x="56" y="80"/>
                  </a:cubicBezTo>
                  <a:lnTo>
                    <a:pt x="56" y="111"/>
                  </a:lnTo>
                  <a:close/>
                  <a:moveTo>
                    <a:pt x="56" y="72"/>
                  </a:moveTo>
                  <a:cubicBezTo>
                    <a:pt x="37" y="72"/>
                    <a:pt x="37" y="72"/>
                    <a:pt x="37" y="72"/>
                  </a:cubicBezTo>
                  <a:cubicBezTo>
                    <a:pt x="37" y="68"/>
                    <a:pt x="36" y="64"/>
                    <a:pt x="36" y="60"/>
                  </a:cubicBezTo>
                  <a:cubicBezTo>
                    <a:pt x="36" y="55"/>
                    <a:pt x="37" y="51"/>
                    <a:pt x="37" y="47"/>
                  </a:cubicBezTo>
                  <a:cubicBezTo>
                    <a:pt x="56" y="47"/>
                    <a:pt x="56" y="47"/>
                    <a:pt x="56" y="47"/>
                  </a:cubicBezTo>
                  <a:lnTo>
                    <a:pt x="56" y="72"/>
                  </a:lnTo>
                  <a:close/>
                  <a:moveTo>
                    <a:pt x="56" y="39"/>
                  </a:moveTo>
                  <a:cubicBezTo>
                    <a:pt x="38" y="39"/>
                    <a:pt x="38" y="39"/>
                    <a:pt x="38" y="39"/>
                  </a:cubicBezTo>
                  <a:cubicBezTo>
                    <a:pt x="42" y="23"/>
                    <a:pt x="49" y="12"/>
                    <a:pt x="56" y="8"/>
                  </a:cubicBezTo>
                  <a:lnTo>
                    <a:pt x="56" y="39"/>
                  </a:lnTo>
                  <a:close/>
                  <a:moveTo>
                    <a:pt x="108" y="39"/>
                  </a:moveTo>
                  <a:cubicBezTo>
                    <a:pt x="90" y="39"/>
                    <a:pt x="90" y="39"/>
                    <a:pt x="90" y="39"/>
                  </a:cubicBezTo>
                  <a:cubicBezTo>
                    <a:pt x="88" y="28"/>
                    <a:pt x="84" y="18"/>
                    <a:pt x="79" y="11"/>
                  </a:cubicBezTo>
                  <a:cubicBezTo>
                    <a:pt x="92" y="16"/>
                    <a:pt x="102" y="26"/>
                    <a:pt x="108" y="39"/>
                  </a:cubicBezTo>
                  <a:close/>
                  <a:moveTo>
                    <a:pt x="64" y="8"/>
                  </a:moveTo>
                  <a:cubicBezTo>
                    <a:pt x="71" y="12"/>
                    <a:pt x="78" y="23"/>
                    <a:pt x="82" y="39"/>
                  </a:cubicBezTo>
                  <a:cubicBezTo>
                    <a:pt x="64" y="39"/>
                    <a:pt x="64" y="39"/>
                    <a:pt x="64" y="39"/>
                  </a:cubicBezTo>
                  <a:lnTo>
                    <a:pt x="64" y="8"/>
                  </a:lnTo>
                  <a:close/>
                  <a:moveTo>
                    <a:pt x="64" y="47"/>
                  </a:moveTo>
                  <a:cubicBezTo>
                    <a:pt x="83" y="47"/>
                    <a:pt x="83" y="47"/>
                    <a:pt x="83" y="47"/>
                  </a:cubicBezTo>
                  <a:cubicBezTo>
                    <a:pt x="84" y="51"/>
                    <a:pt x="84" y="55"/>
                    <a:pt x="84" y="60"/>
                  </a:cubicBezTo>
                  <a:cubicBezTo>
                    <a:pt x="84" y="64"/>
                    <a:pt x="84" y="68"/>
                    <a:pt x="83" y="72"/>
                  </a:cubicBezTo>
                  <a:cubicBezTo>
                    <a:pt x="64" y="72"/>
                    <a:pt x="64" y="72"/>
                    <a:pt x="64" y="72"/>
                  </a:cubicBezTo>
                  <a:lnTo>
                    <a:pt x="64" y="47"/>
                  </a:lnTo>
                  <a:close/>
                  <a:moveTo>
                    <a:pt x="64" y="111"/>
                  </a:moveTo>
                  <a:cubicBezTo>
                    <a:pt x="64" y="80"/>
                    <a:pt x="64" y="80"/>
                    <a:pt x="64" y="80"/>
                  </a:cubicBezTo>
                  <a:cubicBezTo>
                    <a:pt x="82" y="80"/>
                    <a:pt x="82" y="80"/>
                    <a:pt x="82" y="80"/>
                  </a:cubicBezTo>
                  <a:cubicBezTo>
                    <a:pt x="78" y="96"/>
                    <a:pt x="71" y="107"/>
                    <a:pt x="64" y="111"/>
                  </a:cubicBezTo>
                  <a:close/>
                  <a:moveTo>
                    <a:pt x="79" y="108"/>
                  </a:moveTo>
                  <a:cubicBezTo>
                    <a:pt x="84" y="101"/>
                    <a:pt x="88" y="92"/>
                    <a:pt x="90" y="80"/>
                  </a:cubicBezTo>
                  <a:cubicBezTo>
                    <a:pt x="108" y="80"/>
                    <a:pt x="108" y="80"/>
                    <a:pt x="108" y="80"/>
                  </a:cubicBezTo>
                  <a:cubicBezTo>
                    <a:pt x="102" y="93"/>
                    <a:pt x="92" y="103"/>
                    <a:pt x="79" y="108"/>
                  </a:cubicBezTo>
                  <a:close/>
                  <a:moveTo>
                    <a:pt x="91" y="72"/>
                  </a:moveTo>
                  <a:cubicBezTo>
                    <a:pt x="92" y="68"/>
                    <a:pt x="92" y="64"/>
                    <a:pt x="92" y="60"/>
                  </a:cubicBezTo>
                  <a:cubicBezTo>
                    <a:pt x="92" y="55"/>
                    <a:pt x="92" y="51"/>
                    <a:pt x="91" y="47"/>
                  </a:cubicBezTo>
                  <a:cubicBezTo>
                    <a:pt x="110" y="47"/>
                    <a:pt x="110" y="47"/>
                    <a:pt x="110" y="47"/>
                  </a:cubicBezTo>
                  <a:cubicBezTo>
                    <a:pt x="111" y="51"/>
                    <a:pt x="112" y="55"/>
                    <a:pt x="112" y="60"/>
                  </a:cubicBezTo>
                  <a:cubicBezTo>
                    <a:pt x="112" y="64"/>
                    <a:pt x="111" y="68"/>
                    <a:pt x="110" y="72"/>
                  </a:cubicBezTo>
                  <a:lnTo>
                    <a:pt x="91" y="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87" name="Freeform 49"/>
            <p:cNvSpPr>
              <a:spLocks/>
            </p:cNvSpPr>
            <p:nvPr/>
          </p:nvSpPr>
          <p:spPr bwMode="auto">
            <a:xfrm>
              <a:off x="6142038" y="4125913"/>
              <a:ext cx="149225" cy="150813"/>
            </a:xfrm>
            <a:custGeom>
              <a:avLst/>
              <a:gdLst>
                <a:gd name="T0" fmla="*/ 32 w 40"/>
                <a:gd name="T1" fmla="*/ 0 h 40"/>
                <a:gd name="T2" fmla="*/ 8 w 40"/>
                <a:gd name="T3" fmla="*/ 0 h 40"/>
                <a:gd name="T4" fmla="*/ 0 w 40"/>
                <a:gd name="T5" fmla="*/ 8 h 40"/>
                <a:gd name="T6" fmla="*/ 0 w 40"/>
                <a:gd name="T7" fmla="*/ 32 h 40"/>
                <a:gd name="T8" fmla="*/ 8 w 40"/>
                <a:gd name="T9" fmla="*/ 40 h 40"/>
                <a:gd name="T10" fmla="*/ 32 w 40"/>
                <a:gd name="T11" fmla="*/ 40 h 40"/>
                <a:gd name="T12" fmla="*/ 40 w 40"/>
                <a:gd name="T13" fmla="*/ 32 h 40"/>
                <a:gd name="T14" fmla="*/ 40 w 40"/>
                <a:gd name="T15" fmla="*/ 8 h 40"/>
                <a:gd name="T16" fmla="*/ 32 w 40"/>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0">
                  <a:moveTo>
                    <a:pt x="32" y="0"/>
                  </a:moveTo>
                  <a:cubicBezTo>
                    <a:pt x="8" y="0"/>
                    <a:pt x="8" y="0"/>
                    <a:pt x="8" y="0"/>
                  </a:cubicBezTo>
                  <a:cubicBezTo>
                    <a:pt x="4" y="0"/>
                    <a:pt x="0" y="3"/>
                    <a:pt x="0" y="8"/>
                  </a:cubicBezTo>
                  <a:cubicBezTo>
                    <a:pt x="0" y="32"/>
                    <a:pt x="0" y="32"/>
                    <a:pt x="0" y="32"/>
                  </a:cubicBezTo>
                  <a:cubicBezTo>
                    <a:pt x="0" y="36"/>
                    <a:pt x="4" y="40"/>
                    <a:pt x="8" y="40"/>
                  </a:cubicBezTo>
                  <a:cubicBezTo>
                    <a:pt x="32" y="40"/>
                    <a:pt x="32" y="40"/>
                    <a:pt x="32" y="40"/>
                  </a:cubicBezTo>
                  <a:cubicBezTo>
                    <a:pt x="36" y="40"/>
                    <a:pt x="40" y="36"/>
                    <a:pt x="40" y="32"/>
                  </a:cubicBezTo>
                  <a:cubicBezTo>
                    <a:pt x="40" y="8"/>
                    <a:pt x="40" y="8"/>
                    <a:pt x="40" y="8"/>
                  </a:cubicBezTo>
                  <a:cubicBezTo>
                    <a:pt x="40" y="3"/>
                    <a:pt x="36"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88" name="Freeform 50"/>
            <p:cNvSpPr>
              <a:spLocks/>
            </p:cNvSpPr>
            <p:nvPr/>
          </p:nvSpPr>
          <p:spPr bwMode="auto">
            <a:xfrm>
              <a:off x="6411913" y="4125913"/>
              <a:ext cx="149225" cy="150813"/>
            </a:xfrm>
            <a:custGeom>
              <a:avLst/>
              <a:gdLst>
                <a:gd name="T0" fmla="*/ 32 w 40"/>
                <a:gd name="T1" fmla="*/ 0 h 40"/>
                <a:gd name="T2" fmla="*/ 8 w 40"/>
                <a:gd name="T3" fmla="*/ 0 h 40"/>
                <a:gd name="T4" fmla="*/ 0 w 40"/>
                <a:gd name="T5" fmla="*/ 8 h 40"/>
                <a:gd name="T6" fmla="*/ 0 w 40"/>
                <a:gd name="T7" fmla="*/ 32 h 40"/>
                <a:gd name="T8" fmla="*/ 8 w 40"/>
                <a:gd name="T9" fmla="*/ 40 h 40"/>
                <a:gd name="T10" fmla="*/ 32 w 40"/>
                <a:gd name="T11" fmla="*/ 40 h 40"/>
                <a:gd name="T12" fmla="*/ 40 w 40"/>
                <a:gd name="T13" fmla="*/ 32 h 40"/>
                <a:gd name="T14" fmla="*/ 40 w 40"/>
                <a:gd name="T15" fmla="*/ 8 h 40"/>
                <a:gd name="T16" fmla="*/ 32 w 40"/>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0">
                  <a:moveTo>
                    <a:pt x="32" y="0"/>
                  </a:moveTo>
                  <a:cubicBezTo>
                    <a:pt x="8" y="0"/>
                    <a:pt x="8" y="0"/>
                    <a:pt x="8" y="0"/>
                  </a:cubicBezTo>
                  <a:cubicBezTo>
                    <a:pt x="4" y="0"/>
                    <a:pt x="0" y="3"/>
                    <a:pt x="0" y="8"/>
                  </a:cubicBezTo>
                  <a:cubicBezTo>
                    <a:pt x="0" y="32"/>
                    <a:pt x="0" y="32"/>
                    <a:pt x="0" y="32"/>
                  </a:cubicBezTo>
                  <a:cubicBezTo>
                    <a:pt x="0" y="36"/>
                    <a:pt x="4" y="40"/>
                    <a:pt x="8" y="40"/>
                  </a:cubicBezTo>
                  <a:cubicBezTo>
                    <a:pt x="32" y="40"/>
                    <a:pt x="32" y="40"/>
                    <a:pt x="32" y="40"/>
                  </a:cubicBezTo>
                  <a:cubicBezTo>
                    <a:pt x="36" y="40"/>
                    <a:pt x="40" y="36"/>
                    <a:pt x="40" y="32"/>
                  </a:cubicBezTo>
                  <a:cubicBezTo>
                    <a:pt x="40" y="8"/>
                    <a:pt x="40" y="8"/>
                    <a:pt x="40" y="8"/>
                  </a:cubicBezTo>
                  <a:cubicBezTo>
                    <a:pt x="40" y="3"/>
                    <a:pt x="36"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89" name="Freeform 51"/>
            <p:cNvSpPr>
              <a:spLocks/>
            </p:cNvSpPr>
            <p:nvPr/>
          </p:nvSpPr>
          <p:spPr bwMode="auto">
            <a:xfrm>
              <a:off x="6681788" y="4125913"/>
              <a:ext cx="149225" cy="150813"/>
            </a:xfrm>
            <a:custGeom>
              <a:avLst/>
              <a:gdLst>
                <a:gd name="T0" fmla="*/ 32 w 40"/>
                <a:gd name="T1" fmla="*/ 0 h 40"/>
                <a:gd name="T2" fmla="*/ 8 w 40"/>
                <a:gd name="T3" fmla="*/ 0 h 40"/>
                <a:gd name="T4" fmla="*/ 0 w 40"/>
                <a:gd name="T5" fmla="*/ 8 h 40"/>
                <a:gd name="T6" fmla="*/ 0 w 40"/>
                <a:gd name="T7" fmla="*/ 32 h 40"/>
                <a:gd name="T8" fmla="*/ 8 w 40"/>
                <a:gd name="T9" fmla="*/ 40 h 40"/>
                <a:gd name="T10" fmla="*/ 32 w 40"/>
                <a:gd name="T11" fmla="*/ 40 h 40"/>
                <a:gd name="T12" fmla="*/ 40 w 40"/>
                <a:gd name="T13" fmla="*/ 32 h 40"/>
                <a:gd name="T14" fmla="*/ 40 w 40"/>
                <a:gd name="T15" fmla="*/ 8 h 40"/>
                <a:gd name="T16" fmla="*/ 32 w 40"/>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0">
                  <a:moveTo>
                    <a:pt x="32" y="0"/>
                  </a:moveTo>
                  <a:cubicBezTo>
                    <a:pt x="8" y="0"/>
                    <a:pt x="8" y="0"/>
                    <a:pt x="8" y="0"/>
                  </a:cubicBezTo>
                  <a:cubicBezTo>
                    <a:pt x="4" y="0"/>
                    <a:pt x="0" y="3"/>
                    <a:pt x="0" y="8"/>
                  </a:cubicBezTo>
                  <a:cubicBezTo>
                    <a:pt x="0" y="32"/>
                    <a:pt x="0" y="32"/>
                    <a:pt x="0" y="32"/>
                  </a:cubicBezTo>
                  <a:cubicBezTo>
                    <a:pt x="0" y="36"/>
                    <a:pt x="4" y="40"/>
                    <a:pt x="8" y="40"/>
                  </a:cubicBezTo>
                  <a:cubicBezTo>
                    <a:pt x="32" y="40"/>
                    <a:pt x="32" y="40"/>
                    <a:pt x="32" y="40"/>
                  </a:cubicBezTo>
                  <a:cubicBezTo>
                    <a:pt x="36" y="40"/>
                    <a:pt x="40" y="36"/>
                    <a:pt x="40" y="32"/>
                  </a:cubicBezTo>
                  <a:cubicBezTo>
                    <a:pt x="40" y="8"/>
                    <a:pt x="40" y="8"/>
                    <a:pt x="40" y="8"/>
                  </a:cubicBezTo>
                  <a:cubicBezTo>
                    <a:pt x="40" y="3"/>
                    <a:pt x="36" y="0"/>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790" name="Freeform 52"/>
            <p:cNvSpPr>
              <a:spLocks/>
            </p:cNvSpPr>
            <p:nvPr/>
          </p:nvSpPr>
          <p:spPr bwMode="auto">
            <a:xfrm>
              <a:off x="6202363" y="4006850"/>
              <a:ext cx="569912" cy="90488"/>
            </a:xfrm>
            <a:custGeom>
              <a:avLst/>
              <a:gdLst>
                <a:gd name="T0" fmla="*/ 144 w 152"/>
                <a:gd name="T1" fmla="*/ 24 h 24"/>
                <a:gd name="T2" fmla="*/ 144 w 152"/>
                <a:gd name="T3" fmla="*/ 16 h 24"/>
                <a:gd name="T4" fmla="*/ 79 w 152"/>
                <a:gd name="T5" fmla="*/ 16 h 24"/>
                <a:gd name="T6" fmla="*/ 79 w 152"/>
                <a:gd name="T7" fmla="*/ 24 h 24"/>
                <a:gd name="T8" fmla="*/ 71 w 152"/>
                <a:gd name="T9" fmla="*/ 24 h 24"/>
                <a:gd name="T10" fmla="*/ 71 w 152"/>
                <a:gd name="T11" fmla="*/ 16 h 24"/>
                <a:gd name="T12" fmla="*/ 8 w 152"/>
                <a:gd name="T13" fmla="*/ 16 h 24"/>
                <a:gd name="T14" fmla="*/ 8 w 152"/>
                <a:gd name="T15" fmla="*/ 24 h 24"/>
                <a:gd name="T16" fmla="*/ 0 w 152"/>
                <a:gd name="T17" fmla="*/ 24 h 24"/>
                <a:gd name="T18" fmla="*/ 0 w 152"/>
                <a:gd name="T19" fmla="*/ 16 h 24"/>
                <a:gd name="T20" fmla="*/ 8 w 152"/>
                <a:gd name="T21" fmla="*/ 8 h 24"/>
                <a:gd name="T22" fmla="*/ 71 w 152"/>
                <a:gd name="T23" fmla="*/ 8 h 24"/>
                <a:gd name="T24" fmla="*/ 71 w 152"/>
                <a:gd name="T25" fmla="*/ 0 h 24"/>
                <a:gd name="T26" fmla="*/ 79 w 152"/>
                <a:gd name="T27" fmla="*/ 0 h 24"/>
                <a:gd name="T28" fmla="*/ 79 w 152"/>
                <a:gd name="T29" fmla="*/ 8 h 24"/>
                <a:gd name="T30" fmla="*/ 144 w 152"/>
                <a:gd name="T31" fmla="*/ 8 h 24"/>
                <a:gd name="T32" fmla="*/ 152 w 152"/>
                <a:gd name="T33" fmla="*/ 16 h 24"/>
                <a:gd name="T34" fmla="*/ 152 w 152"/>
                <a:gd name="T35" fmla="*/ 24 h 24"/>
                <a:gd name="T36" fmla="*/ 144 w 152"/>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 h="24">
                  <a:moveTo>
                    <a:pt x="144" y="24"/>
                  </a:moveTo>
                  <a:cubicBezTo>
                    <a:pt x="144" y="16"/>
                    <a:pt x="144" y="16"/>
                    <a:pt x="144" y="16"/>
                  </a:cubicBezTo>
                  <a:cubicBezTo>
                    <a:pt x="79" y="16"/>
                    <a:pt x="79" y="16"/>
                    <a:pt x="79" y="16"/>
                  </a:cubicBezTo>
                  <a:cubicBezTo>
                    <a:pt x="79" y="24"/>
                    <a:pt x="79" y="24"/>
                    <a:pt x="79" y="24"/>
                  </a:cubicBezTo>
                  <a:cubicBezTo>
                    <a:pt x="71" y="24"/>
                    <a:pt x="71" y="24"/>
                    <a:pt x="71" y="24"/>
                  </a:cubicBezTo>
                  <a:cubicBezTo>
                    <a:pt x="71" y="16"/>
                    <a:pt x="71" y="16"/>
                    <a:pt x="71" y="16"/>
                  </a:cubicBezTo>
                  <a:cubicBezTo>
                    <a:pt x="8" y="16"/>
                    <a:pt x="8" y="16"/>
                    <a:pt x="8" y="16"/>
                  </a:cubicBezTo>
                  <a:cubicBezTo>
                    <a:pt x="8" y="24"/>
                    <a:pt x="8" y="24"/>
                    <a:pt x="8" y="24"/>
                  </a:cubicBezTo>
                  <a:cubicBezTo>
                    <a:pt x="0" y="24"/>
                    <a:pt x="0" y="24"/>
                    <a:pt x="0" y="24"/>
                  </a:cubicBezTo>
                  <a:cubicBezTo>
                    <a:pt x="0" y="16"/>
                    <a:pt x="0" y="16"/>
                    <a:pt x="0" y="16"/>
                  </a:cubicBezTo>
                  <a:cubicBezTo>
                    <a:pt x="0" y="11"/>
                    <a:pt x="4" y="8"/>
                    <a:pt x="8" y="8"/>
                  </a:cubicBezTo>
                  <a:cubicBezTo>
                    <a:pt x="71" y="8"/>
                    <a:pt x="71" y="8"/>
                    <a:pt x="71" y="8"/>
                  </a:cubicBezTo>
                  <a:cubicBezTo>
                    <a:pt x="71" y="0"/>
                    <a:pt x="71" y="0"/>
                    <a:pt x="71" y="0"/>
                  </a:cubicBezTo>
                  <a:cubicBezTo>
                    <a:pt x="79" y="0"/>
                    <a:pt x="79" y="0"/>
                    <a:pt x="79" y="0"/>
                  </a:cubicBezTo>
                  <a:cubicBezTo>
                    <a:pt x="79" y="8"/>
                    <a:pt x="79" y="8"/>
                    <a:pt x="79" y="8"/>
                  </a:cubicBezTo>
                  <a:cubicBezTo>
                    <a:pt x="144" y="8"/>
                    <a:pt x="144" y="8"/>
                    <a:pt x="144" y="8"/>
                  </a:cubicBezTo>
                  <a:cubicBezTo>
                    <a:pt x="148" y="8"/>
                    <a:pt x="152" y="11"/>
                    <a:pt x="152" y="16"/>
                  </a:cubicBezTo>
                  <a:cubicBezTo>
                    <a:pt x="152" y="24"/>
                    <a:pt x="152" y="24"/>
                    <a:pt x="152" y="24"/>
                  </a:cubicBezTo>
                  <a:lnTo>
                    <a:pt x="144"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grpSp>
    </p:spTree>
    <p:extLst>
      <p:ext uri="{BB962C8B-B14F-4D97-AF65-F5344CB8AC3E}">
        <p14:creationId xmlns:p14="http://schemas.microsoft.com/office/powerpoint/2010/main" val="20989484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3917239924"/>
              </p:ext>
            </p:extLst>
          </p:nvPr>
        </p:nvGraphicFramePr>
        <p:xfrm>
          <a:off x="1495426" y="1589"/>
          <a:ext cx="1586" cy="1586"/>
        </p:xfrm>
        <a:graphic>
          <a:graphicData uri="http://schemas.openxmlformats.org/presentationml/2006/ole">
            <mc:AlternateContent xmlns:mc="http://schemas.openxmlformats.org/markup-compatibility/2006">
              <mc:Choice xmlns:v="urn:schemas-microsoft-com:vml" Requires="v">
                <p:oleObj spid="_x0000_s126014" name="think-cell Slide" r:id="rId6" imgW="353" imgH="353" progId="TCLayout.ActiveDocument.1">
                  <p:embed/>
                </p:oleObj>
              </mc:Choice>
              <mc:Fallback>
                <p:oleObj name="think-cell Slide" r:id="rId6" imgW="353" imgH="353" progId="TCLayout.ActiveDocument.1">
                  <p:embed/>
                  <p:pic>
                    <p:nvPicPr>
                      <p:cNvPr id="27" name="Object 26" hidden="1"/>
                      <p:cNvPicPr/>
                      <p:nvPr/>
                    </p:nvPicPr>
                    <p:blipFill>
                      <a:blip r:embed="rId7"/>
                      <a:stretch>
                        <a:fillRect/>
                      </a:stretch>
                    </p:blipFill>
                    <p:spPr>
                      <a:xfrm>
                        <a:off x="1495426" y="1589"/>
                        <a:ext cx="1586" cy="1586"/>
                      </a:xfrm>
                      <a:prstGeom prst="rect">
                        <a:avLst/>
                      </a:prstGeom>
                    </p:spPr>
                  </p:pic>
                </p:oleObj>
              </mc:Fallback>
            </mc:AlternateContent>
          </a:graphicData>
        </a:graphic>
      </p:graphicFrame>
      <p:grpSp>
        <p:nvGrpSpPr>
          <p:cNvPr id="84" name="Group 83"/>
          <p:cNvGrpSpPr/>
          <p:nvPr/>
        </p:nvGrpSpPr>
        <p:grpSpPr>
          <a:xfrm>
            <a:off x="1713971" y="3279462"/>
            <a:ext cx="1843973" cy="2795325"/>
            <a:chOff x="2128838" y="2309813"/>
            <a:chExt cx="498475" cy="755650"/>
          </a:xfrm>
          <a:solidFill>
            <a:schemeClr val="bg1">
              <a:lumMod val="95000"/>
            </a:schemeClr>
          </a:solidFill>
        </p:grpSpPr>
        <p:sp>
          <p:nvSpPr>
            <p:cNvPr id="85" name="Freeform 15"/>
            <p:cNvSpPr>
              <a:spLocks/>
            </p:cNvSpPr>
            <p:nvPr/>
          </p:nvSpPr>
          <p:spPr bwMode="auto">
            <a:xfrm>
              <a:off x="2128838" y="3001963"/>
              <a:ext cx="498475" cy="63500"/>
            </a:xfrm>
            <a:custGeom>
              <a:avLst/>
              <a:gdLst>
                <a:gd name="T0" fmla="*/ 157 w 314"/>
                <a:gd name="T1" fmla="*/ 0 h 40"/>
                <a:gd name="T2" fmla="*/ 0 w 314"/>
                <a:gd name="T3" fmla="*/ 0 h 40"/>
                <a:gd name="T4" fmla="*/ 0 w 314"/>
                <a:gd name="T5" fmla="*/ 40 h 40"/>
                <a:gd name="T6" fmla="*/ 314 w 314"/>
                <a:gd name="T7" fmla="*/ 40 h 40"/>
                <a:gd name="T8" fmla="*/ 314 w 314"/>
                <a:gd name="T9" fmla="*/ 0 h 40"/>
                <a:gd name="T10" fmla="*/ 157 w 314"/>
                <a:gd name="T11" fmla="*/ 0 h 40"/>
              </a:gdLst>
              <a:ahLst/>
              <a:cxnLst>
                <a:cxn ang="0">
                  <a:pos x="T0" y="T1"/>
                </a:cxn>
                <a:cxn ang="0">
                  <a:pos x="T2" y="T3"/>
                </a:cxn>
                <a:cxn ang="0">
                  <a:pos x="T4" y="T5"/>
                </a:cxn>
                <a:cxn ang="0">
                  <a:pos x="T6" y="T7"/>
                </a:cxn>
                <a:cxn ang="0">
                  <a:pos x="T8" y="T9"/>
                </a:cxn>
                <a:cxn ang="0">
                  <a:pos x="T10" y="T11"/>
                </a:cxn>
              </a:cxnLst>
              <a:rect l="0" t="0" r="r" b="b"/>
              <a:pathLst>
                <a:path w="314" h="40">
                  <a:moveTo>
                    <a:pt x="157" y="0"/>
                  </a:moveTo>
                  <a:lnTo>
                    <a:pt x="0" y="0"/>
                  </a:lnTo>
                  <a:lnTo>
                    <a:pt x="0" y="40"/>
                  </a:lnTo>
                  <a:lnTo>
                    <a:pt x="314" y="40"/>
                  </a:lnTo>
                  <a:lnTo>
                    <a:pt x="314" y="0"/>
                  </a:lnTo>
                  <a:lnTo>
                    <a:pt x="15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86" name="Oval 16"/>
            <p:cNvSpPr>
              <a:spLocks noChangeArrowheads="1"/>
            </p:cNvSpPr>
            <p:nvPr/>
          </p:nvSpPr>
          <p:spPr bwMode="auto">
            <a:xfrm>
              <a:off x="2282826" y="2460625"/>
              <a:ext cx="190500" cy="1889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sp>
          <p:nvSpPr>
            <p:cNvPr id="87" name="Freeform 17"/>
            <p:cNvSpPr>
              <a:spLocks noEditPoints="1"/>
            </p:cNvSpPr>
            <p:nvPr/>
          </p:nvSpPr>
          <p:spPr bwMode="auto">
            <a:xfrm>
              <a:off x="2136776" y="2309813"/>
              <a:ext cx="484188" cy="692150"/>
            </a:xfrm>
            <a:custGeom>
              <a:avLst/>
              <a:gdLst>
                <a:gd name="T0" fmla="*/ 99 w 177"/>
                <a:gd name="T1" fmla="*/ 246 h 253"/>
                <a:gd name="T2" fmla="*/ 177 w 177"/>
                <a:gd name="T3" fmla="*/ 88 h 253"/>
                <a:gd name="T4" fmla="*/ 88 w 177"/>
                <a:gd name="T5" fmla="*/ 0 h 253"/>
                <a:gd name="T6" fmla="*/ 0 w 177"/>
                <a:gd name="T7" fmla="*/ 88 h 253"/>
                <a:gd name="T8" fmla="*/ 78 w 177"/>
                <a:gd name="T9" fmla="*/ 246 h 253"/>
                <a:gd name="T10" fmla="*/ 88 w 177"/>
                <a:gd name="T11" fmla="*/ 253 h 253"/>
                <a:gd name="T12" fmla="*/ 99 w 177"/>
                <a:gd name="T13" fmla="*/ 246 h 253"/>
                <a:gd name="T14" fmla="*/ 88 w 177"/>
                <a:gd name="T15" fmla="*/ 149 h 253"/>
                <a:gd name="T16" fmla="*/ 28 w 177"/>
                <a:gd name="T17" fmla="*/ 90 h 253"/>
                <a:gd name="T18" fmla="*/ 88 w 177"/>
                <a:gd name="T19" fmla="*/ 30 h 253"/>
                <a:gd name="T20" fmla="*/ 148 w 177"/>
                <a:gd name="T21" fmla="*/ 90 h 253"/>
                <a:gd name="T22" fmla="*/ 88 w 177"/>
                <a:gd name="T23" fmla="*/ 149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7" h="253">
                  <a:moveTo>
                    <a:pt x="99" y="246"/>
                  </a:moveTo>
                  <a:cubicBezTo>
                    <a:pt x="99" y="246"/>
                    <a:pt x="177" y="149"/>
                    <a:pt x="177" y="88"/>
                  </a:cubicBezTo>
                  <a:cubicBezTo>
                    <a:pt x="177" y="39"/>
                    <a:pt x="137" y="0"/>
                    <a:pt x="88" y="0"/>
                  </a:cubicBezTo>
                  <a:cubicBezTo>
                    <a:pt x="39" y="0"/>
                    <a:pt x="0" y="39"/>
                    <a:pt x="0" y="88"/>
                  </a:cubicBezTo>
                  <a:cubicBezTo>
                    <a:pt x="0" y="149"/>
                    <a:pt x="78" y="246"/>
                    <a:pt x="78" y="246"/>
                  </a:cubicBezTo>
                  <a:cubicBezTo>
                    <a:pt x="81" y="250"/>
                    <a:pt x="85" y="253"/>
                    <a:pt x="88" y="253"/>
                  </a:cubicBezTo>
                  <a:cubicBezTo>
                    <a:pt x="92" y="253"/>
                    <a:pt x="96" y="250"/>
                    <a:pt x="99" y="246"/>
                  </a:cubicBezTo>
                  <a:close/>
                  <a:moveTo>
                    <a:pt x="88" y="149"/>
                  </a:moveTo>
                  <a:cubicBezTo>
                    <a:pt x="55" y="149"/>
                    <a:pt x="28" y="123"/>
                    <a:pt x="28" y="90"/>
                  </a:cubicBezTo>
                  <a:cubicBezTo>
                    <a:pt x="28" y="57"/>
                    <a:pt x="55" y="30"/>
                    <a:pt x="88" y="30"/>
                  </a:cubicBezTo>
                  <a:cubicBezTo>
                    <a:pt x="121" y="30"/>
                    <a:pt x="148" y="57"/>
                    <a:pt x="148" y="90"/>
                  </a:cubicBezTo>
                  <a:cubicBezTo>
                    <a:pt x="148" y="123"/>
                    <a:pt x="121" y="149"/>
                    <a:pt x="88" y="1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19" rIns="91440" bIns="45719" numCol="1" anchor="t" anchorCtr="0" compatLnSpc="1">
              <a:prstTxWarp prst="textNoShape">
                <a:avLst/>
              </a:prstTxWarp>
            </a:bodyPr>
            <a:lstStyle/>
            <a:p>
              <a:endParaRPr lang="es-CO" dirty="0"/>
            </a:p>
          </p:txBody>
        </p:sp>
      </p:grpSp>
      <p:pic>
        <p:nvPicPr>
          <p:cNvPr id="3" name="Picture 2"/>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628153" y="1235633"/>
            <a:ext cx="11092070" cy="1874235"/>
          </a:xfrm>
          <a:prstGeom prst="rect">
            <a:avLst/>
          </a:prstGeom>
        </p:spPr>
      </p:pic>
      <p:sp>
        <p:nvSpPr>
          <p:cNvPr id="2" name="Title 1"/>
          <p:cNvSpPr>
            <a:spLocks noGrp="1"/>
          </p:cNvSpPr>
          <p:nvPr>
            <p:ph type="title"/>
          </p:nvPr>
        </p:nvSpPr>
        <p:spPr>
          <a:xfrm>
            <a:off x="739140" y="353604"/>
            <a:ext cx="899598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17513">
              <a:tabLst>
                <a:tab pos="447675" algn="l"/>
              </a:tabLst>
            </a:pPr>
            <a:r>
              <a:rPr lang="es-CO" dirty="0"/>
              <a:t>Desbloqueo de la tierra: se pueden considerar varias palancas para desbloquear la tierra en el lugar correcto para el desarrollo de vivienda</a:t>
            </a:r>
          </a:p>
        </p:txBody>
      </p:sp>
      <p:sp>
        <p:nvSpPr>
          <p:cNvPr id="170" name="RectangleLegend3"/>
          <p:cNvSpPr>
            <a:spLocks noChangeArrowheads="1"/>
          </p:cNvSpPr>
          <p:nvPr/>
        </p:nvSpPr>
        <p:spPr bwMode="auto">
          <a:xfrm>
            <a:off x="9939659" y="1022225"/>
            <a:ext cx="165100" cy="160338"/>
          </a:xfrm>
          <a:prstGeom prst="rect">
            <a:avLst/>
          </a:prstGeom>
          <a:solidFill>
            <a:schemeClr val="accent2"/>
          </a:solidFill>
          <a:ln w="9525">
            <a:noFill/>
            <a:miter lim="800000"/>
            <a:headEnd/>
            <a:tailEnd/>
          </a:ln>
          <a:effectLst/>
          <a:extLst/>
        </p:spPr>
        <p:txBody>
          <a:bodyPr wrap="none" anchor="ctr"/>
          <a:lstStyle/>
          <a:p>
            <a:endParaRPr lang="es-CO" sz="1100" dirty="0"/>
          </a:p>
        </p:txBody>
      </p:sp>
      <p:sp>
        <p:nvSpPr>
          <p:cNvPr id="174" name="Legend3"/>
          <p:cNvSpPr>
            <a:spLocks noChangeArrowheads="1"/>
          </p:cNvSpPr>
          <p:nvPr>
            <p:custDataLst>
              <p:tags r:id="rId3"/>
            </p:custDataLst>
          </p:nvPr>
        </p:nvSpPr>
        <p:spPr bwMode="auto">
          <a:xfrm>
            <a:off x="10248408" y="1017756"/>
            <a:ext cx="1577832" cy="1692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defTabSz="895285">
              <a:buClr>
                <a:schemeClr val="tx2"/>
              </a:buClr>
            </a:pPr>
            <a:r>
              <a:rPr lang="es-CO" sz="1100" dirty="0">
                <a:latin typeface="+mn-lt"/>
              </a:rPr>
              <a:t>Inmersiones profundas</a:t>
            </a:r>
          </a:p>
        </p:txBody>
      </p:sp>
      <p:sp>
        <p:nvSpPr>
          <p:cNvPr id="47" name="Rectangle 23"/>
          <p:cNvSpPr txBox="1">
            <a:spLocks/>
          </p:cNvSpPr>
          <p:nvPr/>
        </p:nvSpPr>
        <p:spPr bwMode="gray">
          <a:xfrm>
            <a:off x="5189436" y="3202364"/>
            <a:ext cx="6530788" cy="338552"/>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spAutoFit/>
          </a:bodyPr>
          <a:lstStyle>
            <a:defPPr>
              <a:defRPr lang="en-US"/>
            </a:defPPr>
            <a:lvl1pPr algn="ctr">
              <a:defRPr sz="14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bg1"/>
                </a:solidFill>
              </a:rPr>
              <a:t>Priorizar el desarrollo orientado al tránsito</a:t>
            </a:r>
          </a:p>
        </p:txBody>
      </p:sp>
      <p:sp>
        <p:nvSpPr>
          <p:cNvPr id="16" name="Oval 15"/>
          <p:cNvSpPr/>
          <p:nvPr/>
        </p:nvSpPr>
        <p:spPr>
          <a:xfrm>
            <a:off x="5086923" y="3256812"/>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dirty="0">
                <a:solidFill>
                  <a:schemeClr val="bg1"/>
                </a:solidFill>
              </a:rPr>
              <a:t>A</a:t>
            </a:r>
          </a:p>
        </p:txBody>
      </p:sp>
      <p:sp>
        <p:nvSpPr>
          <p:cNvPr id="49" name="Rectangle 23"/>
          <p:cNvSpPr txBox="1">
            <a:spLocks/>
          </p:cNvSpPr>
          <p:nvPr/>
        </p:nvSpPr>
        <p:spPr bwMode="gray">
          <a:xfrm>
            <a:off x="5189436" y="3625690"/>
            <a:ext cx="6530788" cy="307775"/>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bg1"/>
                </a:solidFill>
              </a:rPr>
              <a:t>Obtener más de los sitios subutilizados </a:t>
            </a:r>
          </a:p>
        </p:txBody>
      </p:sp>
      <p:sp>
        <p:nvSpPr>
          <p:cNvPr id="56" name="Oval 55"/>
          <p:cNvSpPr/>
          <p:nvPr/>
        </p:nvSpPr>
        <p:spPr>
          <a:xfrm>
            <a:off x="5086923" y="3653577"/>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dirty="0">
                <a:solidFill>
                  <a:schemeClr val="bg1"/>
                </a:solidFill>
              </a:rPr>
              <a:t>B</a:t>
            </a:r>
          </a:p>
        </p:txBody>
      </p:sp>
      <p:sp>
        <p:nvSpPr>
          <p:cNvPr id="50" name="Rectangle 23"/>
          <p:cNvSpPr txBox="1">
            <a:spLocks/>
          </p:cNvSpPr>
          <p:nvPr/>
        </p:nvSpPr>
        <p:spPr bwMode="gray">
          <a:xfrm>
            <a:off x="5189436" y="4018239"/>
            <a:ext cx="6530788" cy="307775"/>
          </a:xfrm>
          <a:prstGeom prst="rect">
            <a:avLst/>
          </a:prstGeom>
          <a:solidFill>
            <a:schemeClr val="accent1"/>
          </a:solidFill>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tx2"/>
                </a:solidFill>
              </a:rPr>
              <a:t>Poner parcelas vacías a trabajar </a:t>
            </a:r>
          </a:p>
        </p:txBody>
      </p:sp>
      <p:sp>
        <p:nvSpPr>
          <p:cNvPr id="57" name="Oval 56"/>
          <p:cNvSpPr/>
          <p:nvPr/>
        </p:nvSpPr>
        <p:spPr>
          <a:xfrm>
            <a:off x="5086923" y="4046126"/>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CO" b="1" dirty="0">
                <a:solidFill>
                  <a:schemeClr val="bg1"/>
                </a:solidFill>
              </a:rPr>
              <a:t>C</a:t>
            </a:r>
          </a:p>
        </p:txBody>
      </p:sp>
      <p:sp>
        <p:nvSpPr>
          <p:cNvPr id="55" name="Rectangle 23"/>
          <p:cNvSpPr txBox="1">
            <a:spLocks/>
          </p:cNvSpPr>
          <p:nvPr/>
        </p:nvSpPr>
        <p:spPr bwMode="gray">
          <a:xfrm>
            <a:off x="5189436" y="4410788"/>
            <a:ext cx="6530788" cy="307775"/>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bg1"/>
                </a:solidFill>
              </a:rPr>
              <a:t>Poner a disposición tiarras públicas</a:t>
            </a:r>
          </a:p>
        </p:txBody>
      </p:sp>
      <p:sp>
        <p:nvSpPr>
          <p:cNvPr id="58" name="Oval 57"/>
          <p:cNvSpPr/>
          <p:nvPr/>
        </p:nvSpPr>
        <p:spPr>
          <a:xfrm>
            <a:off x="5086923" y="4438676"/>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CO" b="1" dirty="0">
                <a:solidFill>
                  <a:schemeClr val="bg1"/>
                </a:solidFill>
              </a:rPr>
              <a:t>D</a:t>
            </a:r>
          </a:p>
        </p:txBody>
      </p:sp>
      <p:sp>
        <p:nvSpPr>
          <p:cNvPr id="51" name="Rectangle 23"/>
          <p:cNvSpPr txBox="1">
            <a:spLocks/>
          </p:cNvSpPr>
          <p:nvPr/>
        </p:nvSpPr>
        <p:spPr bwMode="gray">
          <a:xfrm>
            <a:off x="5189436" y="4803337"/>
            <a:ext cx="6530788" cy="307775"/>
          </a:xfrm>
          <a:prstGeom prst="rect">
            <a:avLst/>
          </a:prstGeom>
          <a:solidFill>
            <a:schemeClr val="accent1"/>
          </a:solidFill>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tx2"/>
                </a:solidFill>
              </a:rPr>
              <a:t>Transformar sitios industriales </a:t>
            </a:r>
          </a:p>
        </p:txBody>
      </p:sp>
      <p:sp>
        <p:nvSpPr>
          <p:cNvPr id="61" name="Oval 60"/>
          <p:cNvSpPr/>
          <p:nvPr/>
        </p:nvSpPr>
        <p:spPr>
          <a:xfrm>
            <a:off x="5086923" y="4831224"/>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CO" b="1" dirty="0">
                <a:solidFill>
                  <a:schemeClr val="bg1"/>
                </a:solidFill>
              </a:rPr>
              <a:t>E</a:t>
            </a:r>
          </a:p>
        </p:txBody>
      </p:sp>
      <p:sp>
        <p:nvSpPr>
          <p:cNvPr id="53" name="Rectangle 23"/>
          <p:cNvSpPr txBox="1">
            <a:spLocks/>
          </p:cNvSpPr>
          <p:nvPr/>
        </p:nvSpPr>
        <p:spPr bwMode="gray">
          <a:xfrm>
            <a:off x="5189436" y="5195886"/>
            <a:ext cx="6530788" cy="307775"/>
          </a:xfrm>
          <a:prstGeom prst="rect">
            <a:avLst/>
          </a:prstGeom>
          <a:solidFill>
            <a:schemeClr val="accent1"/>
          </a:solidFill>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tx2"/>
                </a:solidFill>
              </a:rPr>
              <a:t>Volverse </a:t>
            </a:r>
            <a:r>
              <a:rPr lang="es-CO" sz="1600" b="1" i="1" dirty="0">
                <a:solidFill>
                  <a:schemeClr val="tx2"/>
                </a:solidFill>
              </a:rPr>
              <a:t>greenfield </a:t>
            </a:r>
            <a:r>
              <a:rPr lang="es-CO" sz="1600" b="1" dirty="0">
                <a:solidFill>
                  <a:schemeClr val="tx2"/>
                </a:solidFill>
              </a:rPr>
              <a:t> </a:t>
            </a:r>
          </a:p>
        </p:txBody>
      </p:sp>
      <p:sp>
        <p:nvSpPr>
          <p:cNvPr id="62" name="Oval 61"/>
          <p:cNvSpPr/>
          <p:nvPr/>
        </p:nvSpPr>
        <p:spPr>
          <a:xfrm>
            <a:off x="5086923" y="5223773"/>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CO" b="1" dirty="0">
                <a:solidFill>
                  <a:schemeClr val="bg1"/>
                </a:solidFill>
              </a:rPr>
              <a:t>F</a:t>
            </a:r>
          </a:p>
        </p:txBody>
      </p:sp>
      <p:sp>
        <p:nvSpPr>
          <p:cNvPr id="52" name="Rectangle 23"/>
          <p:cNvSpPr txBox="1">
            <a:spLocks/>
          </p:cNvSpPr>
          <p:nvPr/>
        </p:nvSpPr>
        <p:spPr bwMode="gray">
          <a:xfrm>
            <a:off x="5189436" y="5588434"/>
            <a:ext cx="6530788" cy="307775"/>
          </a:xfrm>
          <a:prstGeom prst="rect">
            <a:avLst/>
          </a:prstGeom>
          <a:solidFill>
            <a:schemeClr val="accent1"/>
          </a:solidFill>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19" rIns="91440" bIns="45719" numCol="1" spcCol="0" rtlCol="0" fromWordArt="0" anchor="ctr" anchorCtr="0" forceAA="0" compatLnSpc="1">
            <a:prstTxWarp prst="textNoShape">
              <a:avLst/>
            </a:prstTxWarp>
            <a:noAutofit/>
          </a:bodyPr>
          <a:lstStyle>
            <a:defPPr>
              <a:defRPr lang="en-US"/>
            </a:defPPr>
            <a:lvl1pPr algn="ctr">
              <a:defRPr sz="14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85718" algn="l"/>
            <a:r>
              <a:rPr lang="es-CO" sz="1600" b="1" dirty="0">
                <a:solidFill>
                  <a:schemeClr val="tx2"/>
                </a:solidFill>
              </a:rPr>
              <a:t>Agregar unidades de vivienda accesorias</a:t>
            </a:r>
          </a:p>
        </p:txBody>
      </p:sp>
      <p:sp>
        <p:nvSpPr>
          <p:cNvPr id="64" name="Oval 63"/>
          <p:cNvSpPr/>
          <p:nvPr/>
        </p:nvSpPr>
        <p:spPr>
          <a:xfrm>
            <a:off x="5086923" y="5627493"/>
            <a:ext cx="252000" cy="252000"/>
          </a:xfrm>
          <a:prstGeom prst="ellipse">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CO" b="1" dirty="0">
                <a:solidFill>
                  <a:schemeClr val="bg1"/>
                </a:solidFill>
              </a:rPr>
              <a:t>G</a:t>
            </a:r>
          </a:p>
        </p:txBody>
      </p:sp>
      <p:sp>
        <p:nvSpPr>
          <p:cNvPr id="72" name="Oval 71"/>
          <p:cNvSpPr/>
          <p:nvPr/>
        </p:nvSpPr>
        <p:spPr>
          <a:xfrm>
            <a:off x="739140" y="353604"/>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CO" sz="1900" b="1" dirty="0">
                <a:solidFill>
                  <a:schemeClr val="bg1"/>
                </a:solidFill>
              </a:rPr>
              <a:t>1</a:t>
            </a:r>
          </a:p>
        </p:txBody>
      </p:sp>
      <p:sp>
        <p:nvSpPr>
          <p:cNvPr id="88" name="TextBox 87"/>
          <p:cNvSpPr txBox="1"/>
          <p:nvPr/>
        </p:nvSpPr>
        <p:spPr>
          <a:xfrm>
            <a:off x="1973850" y="4830945"/>
            <a:ext cx="1324214" cy="98488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s-CO" b="1" dirty="0">
                <a:solidFill>
                  <a:schemeClr val="accent4"/>
                </a:solidFill>
              </a:rPr>
              <a:t>Desbloqueo de la tierra en el lugar correcto</a:t>
            </a:r>
          </a:p>
        </p:txBody>
      </p:sp>
      <p:sp>
        <p:nvSpPr>
          <p:cNvPr id="36" name="Rectangle 35">
            <a:extLst>
              <a:ext uri="{FF2B5EF4-FFF2-40B4-BE49-F238E27FC236}">
                <a16:creationId xmlns:a16="http://schemas.microsoft.com/office/drawing/2014/main" id="{5E690423-5158-4110-9440-C3CCB5538C54}"/>
              </a:ext>
            </a:extLst>
          </p:cNvPr>
          <p:cNvSpPr>
            <a:spLocks/>
          </p:cNvSpPr>
          <p:nvPr/>
        </p:nvSpPr>
        <p:spPr>
          <a:xfrm>
            <a:off x="628153" y="1235633"/>
            <a:ext cx="11092070" cy="1874235"/>
          </a:xfrm>
          <a:prstGeom prst="rect">
            <a:avLst/>
          </a:prstGeom>
          <a:gradFill>
            <a:gsLst>
              <a:gs pos="60000">
                <a:schemeClr val="tx1">
                  <a:alpha val="0"/>
                </a:schemeClr>
              </a:gs>
              <a:gs pos="99000">
                <a:schemeClr val="tx1">
                  <a:alpha val="72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dirty="0">
              <a:solidFill>
                <a:schemeClr val="tx1"/>
              </a:solidFill>
            </a:endParaRPr>
          </a:p>
        </p:txBody>
      </p:sp>
    </p:spTree>
    <p:extLst>
      <p:ext uri="{BB962C8B-B14F-4D97-AF65-F5344CB8AC3E}">
        <p14:creationId xmlns:p14="http://schemas.microsoft.com/office/powerpoint/2010/main" val="1527472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ct 55" hidden="1"/>
          <p:cNvGraphicFramePr>
            <a:graphicFrameLocks noChangeAspect="1"/>
          </p:cNvGraphicFramePr>
          <p:nvPr>
            <p:custDataLst>
              <p:tags r:id="rId2"/>
            </p:custDataLst>
            <p:extLst>
              <p:ext uri="{D42A27DB-BD31-4B8C-83A1-F6EECF244321}">
                <p14:modId xmlns:p14="http://schemas.microsoft.com/office/powerpoint/2010/main" val="2919842493"/>
              </p:ext>
            </p:extLst>
          </p:nvPr>
        </p:nvGraphicFramePr>
        <p:xfrm>
          <a:off x="1495029" y="841488"/>
          <a:ext cx="1190" cy="1190"/>
        </p:xfrm>
        <a:graphic>
          <a:graphicData uri="http://schemas.openxmlformats.org/presentationml/2006/ole">
            <mc:AlternateContent xmlns:mc="http://schemas.openxmlformats.org/markup-compatibility/2006">
              <mc:Choice xmlns:v="urn:schemas-microsoft-com:vml" Requires="v">
                <p:oleObj spid="_x0000_s127037" name="think-cell Slide" r:id="rId6" imgW="353" imgH="353" progId="TCLayout.ActiveDocument.1">
                  <p:embed/>
                </p:oleObj>
              </mc:Choice>
              <mc:Fallback>
                <p:oleObj name="think-cell Slide" r:id="rId6" imgW="353" imgH="353" progId="TCLayout.ActiveDocument.1">
                  <p:embed/>
                  <p:pic>
                    <p:nvPicPr>
                      <p:cNvPr id="56" name="Object 55" hidden="1"/>
                      <p:cNvPicPr/>
                      <p:nvPr/>
                    </p:nvPicPr>
                    <p:blipFill>
                      <a:blip r:embed="rId7"/>
                      <a:stretch>
                        <a:fillRect/>
                      </a:stretch>
                    </p:blipFill>
                    <p:spPr>
                      <a:xfrm>
                        <a:off x="1495029" y="841488"/>
                        <a:ext cx="1190" cy="1190"/>
                      </a:xfrm>
                      <a:prstGeom prst="rect">
                        <a:avLst/>
                      </a:prstGeom>
                    </p:spPr>
                  </p:pic>
                </p:oleObj>
              </mc:Fallback>
            </mc:AlternateContent>
          </a:graphicData>
        </a:graphic>
      </p:graphicFrame>
      <p:sp>
        <p:nvSpPr>
          <p:cNvPr id="47" name="Rectangle 46" hidden="1"/>
          <p:cNvSpPr/>
          <p:nvPr>
            <p:custDataLst>
              <p:tags r:id="rId3"/>
            </p:custDataLst>
          </p:nvPr>
        </p:nvSpPr>
        <p:spPr bwMode="auto">
          <a:xfrm>
            <a:off x="1493839" y="840297"/>
            <a:ext cx="119056" cy="119056"/>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750"/>
            <a:endParaRPr lang="en-US" sz="1200" dirty="0" err="1">
              <a:solidFill>
                <a:srgbClr val="000000"/>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39141" y="353603"/>
            <a:ext cx="9260738"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17513"/>
            <a:r>
              <a:rPr lang="es-ES_tradnl" dirty="0"/>
              <a:t>La tierra urbana está disponible incluso en áreas densas- ejemplo de desarrollo orientado al tránsito en California</a:t>
            </a:r>
          </a:p>
        </p:txBody>
      </p:sp>
      <p:sp>
        <p:nvSpPr>
          <p:cNvPr id="6" name="4. Footnote"/>
          <p:cNvSpPr txBox="1">
            <a:spLocks noChangeArrowheads="1"/>
          </p:cNvSpPr>
          <p:nvPr/>
        </p:nvSpPr>
        <p:spPr bwMode="auto">
          <a:xfrm>
            <a:off x="589449" y="5938042"/>
            <a:ext cx="6411231"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78575" indent="-78575" defTabSz="671464"/>
            <a:r>
              <a:rPr lang="es-ES_tradnl" sz="800">
                <a:solidFill>
                  <a:schemeClr val="accent6"/>
                </a:solidFill>
                <a:latin typeface="Arial" panose="020B0604020202020204" pitchFamily="34" charset="0"/>
              </a:rPr>
              <a:t>1 El extremo inferior del rango supone que se agrega una unidad por cada acre neto por cada 100 unidades existentes; el extremo superior asume el desarrollo hasta el siguiente nivel de densidad urbana</a:t>
            </a:r>
          </a:p>
        </p:txBody>
      </p:sp>
      <p:sp>
        <p:nvSpPr>
          <p:cNvPr id="7" name="5. Source"/>
          <p:cNvSpPr>
            <a:spLocks noChangeArrowheads="1"/>
          </p:cNvSpPr>
          <p:nvPr/>
        </p:nvSpPr>
        <p:spPr bwMode="gray">
          <a:xfrm>
            <a:off x="589449" y="6262051"/>
            <a:ext cx="7464424"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71449" indent="-371449" defTabSz="895329"/>
            <a:r>
              <a:rPr lang="es-ES_tradnl" sz="800" dirty="0">
                <a:solidFill>
                  <a:schemeClr val="accent6"/>
                </a:solidFill>
                <a:latin typeface="Arial" panose="020B0604020202020204" pitchFamily="34" charset="0"/>
              </a:rPr>
              <a:t>FUENTE: Comisión Metropolitana de Transporte del Área de la Bahía; Almacén de Datos Regional de San Diego; Portal GIS del condado de Sacramento; Portal GIS de Los Ángeles; Plan Maestro de Transporte Rápido de Bus de Fresno; </a:t>
            </a:r>
            <a:r>
              <a:rPr lang="es-ES_tradnl" sz="800" dirty="0" err="1">
                <a:solidFill>
                  <a:schemeClr val="accent6"/>
                </a:solidFill>
                <a:latin typeface="Arial" panose="020B0604020202020204" pitchFamily="34" charset="0"/>
              </a:rPr>
              <a:t>Amtrak</a:t>
            </a:r>
            <a:r>
              <a:rPr lang="es-ES_tradnl" sz="800" dirty="0">
                <a:solidFill>
                  <a:schemeClr val="accent6"/>
                </a:solidFill>
                <a:latin typeface="Arial" panose="020B0604020202020204" pitchFamily="34" charset="0"/>
              </a:rPr>
              <a:t>; Autoridad ferroviaria de alta velocidad de California; Análisis GIS McKinsey; Análisis del McKinsey Global </a:t>
            </a:r>
            <a:r>
              <a:rPr lang="es-ES_tradnl" sz="800" dirty="0" err="1">
                <a:solidFill>
                  <a:schemeClr val="accent6"/>
                </a:solidFill>
                <a:latin typeface="Arial" panose="020B0604020202020204" pitchFamily="34" charset="0"/>
              </a:rPr>
              <a:t>Institute</a:t>
            </a:r>
            <a:r>
              <a:rPr lang="es-ES_tradnl" sz="800" dirty="0">
                <a:solidFill>
                  <a:schemeClr val="accent6"/>
                </a:solidFill>
                <a:latin typeface="Arial" panose="020B0604020202020204" pitchFamily="34" charset="0"/>
              </a:rPr>
              <a:t> </a:t>
            </a:r>
          </a:p>
        </p:txBody>
      </p:sp>
      <p:grpSp>
        <p:nvGrpSpPr>
          <p:cNvPr id="13" name="sticker"/>
          <p:cNvGrpSpPr/>
          <p:nvPr/>
        </p:nvGrpSpPr>
        <p:grpSpPr>
          <a:xfrm>
            <a:off x="11004248" y="806037"/>
            <a:ext cx="763479" cy="150811"/>
            <a:chOff x="5406623" y="285750"/>
            <a:chExt cx="3330977" cy="150817"/>
          </a:xfrm>
        </p:grpSpPr>
        <p:sp>
          <p:nvSpPr>
            <p:cNvPr id="14" name="StickerRectangle"/>
            <p:cNvSpPr>
              <a:spLocks noChangeArrowheads="1"/>
            </p:cNvSpPr>
            <p:nvPr/>
          </p:nvSpPr>
          <p:spPr bwMode="gray">
            <a:xfrm>
              <a:off x="6672490" y="285750"/>
              <a:ext cx="2065110" cy="15081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s-ES_tradnl" sz="800">
                  <a:solidFill>
                    <a:schemeClr val="accent6"/>
                  </a:solidFill>
                  <a:latin typeface="+mn-lt"/>
                </a:rPr>
                <a:t>REDONDEADO</a:t>
              </a:r>
            </a:p>
          </p:txBody>
        </p:sp>
        <p:cxnSp>
          <p:nvCxnSpPr>
            <p:cNvPr id="15" name="AutoShape 31"/>
            <p:cNvCxnSpPr>
              <a:cxnSpLocks noChangeShapeType="1"/>
              <a:stCxn id="14" idx="2"/>
              <a:endCxn id="14" idx="4"/>
            </p:cNvCxnSpPr>
            <p:nvPr/>
          </p:nvCxnSpPr>
          <p:spPr bwMode="gray">
            <a:xfrm>
              <a:off x="5406623" y="285750"/>
              <a:ext cx="0" cy="15081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 uri="{909E8E84-426E-40dd-AFC4-6F175D3DCCD1}">
                <a14:hiddenFill xmlns:a14="http://schemas.microsoft.com/office/drawing/2010/main" xmlns="">
                  <a:noFill/>
                </a14:hiddenFill>
              </a:ext>
            </a:extLst>
          </p:spPr>
        </p:cxnSp>
        <p:cxnSp>
          <p:nvCxnSpPr>
            <p:cNvPr id="16" name="AutoShape 32"/>
            <p:cNvCxnSpPr>
              <a:cxnSpLocks noChangeShapeType="1"/>
              <a:stCxn id="14" idx="4"/>
              <a:endCxn id="14" idx="6"/>
            </p:cNvCxnSpPr>
            <p:nvPr/>
          </p:nvCxnSpPr>
          <p:spPr bwMode="gray">
            <a:xfrm>
              <a:off x="5406623" y="436567"/>
              <a:ext cx="333097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 uri="{909E8E84-426E-40dd-AFC4-6F175D3DCCD1}">
                <a14:hiddenFill xmlns:a14="http://schemas.microsoft.com/office/drawing/2010/main" xmlns="">
                  <a:noFill/>
                </a14:hiddenFill>
              </a:ext>
            </a:extLst>
          </p:spPr>
        </p:cxnSp>
      </p:grpSp>
      <p:grpSp>
        <p:nvGrpSpPr>
          <p:cNvPr id="10" name="Group 9"/>
          <p:cNvGrpSpPr/>
          <p:nvPr/>
        </p:nvGrpSpPr>
        <p:grpSpPr>
          <a:xfrm>
            <a:off x="589449" y="1927055"/>
            <a:ext cx="11178278" cy="322312"/>
            <a:chOff x="266" y="999553"/>
            <a:chExt cx="11948847" cy="429768"/>
          </a:xfrm>
        </p:grpSpPr>
        <p:sp>
          <p:nvSpPr>
            <p:cNvPr id="11" name="Rectangle 10"/>
            <p:cNvSpPr>
              <a:spLocks/>
            </p:cNvSpPr>
            <p:nvPr/>
          </p:nvSpPr>
          <p:spPr>
            <a:xfrm>
              <a:off x="266" y="999553"/>
              <a:ext cx="11948847" cy="429768"/>
            </a:xfrm>
            <a:prstGeom prst="rect">
              <a:avLst/>
            </a:prstGeom>
            <a:gradFill>
              <a:gsLst>
                <a:gs pos="0">
                  <a:schemeClr val="accent6">
                    <a:lumMod val="20000"/>
                    <a:lumOff val="80000"/>
                  </a:schemeClr>
                </a:gs>
                <a:gs pos="100000">
                  <a:schemeClr val="bg1"/>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a:solidFill>
                  <a:srgbClr val="000000"/>
                </a:solidFill>
                <a:latin typeface="Arial"/>
              </a:endParaRPr>
            </a:p>
          </p:txBody>
        </p:sp>
        <p:cxnSp>
          <p:nvCxnSpPr>
            <p:cNvPr id="12" name="Straight Connector 11"/>
            <p:cNvCxnSpPr>
              <a:cxnSpLocks/>
            </p:cNvCxnSpPr>
            <p:nvPr/>
          </p:nvCxnSpPr>
          <p:spPr>
            <a:xfrm>
              <a:off x="266" y="999553"/>
              <a:ext cx="11948847" cy="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7" name="TextBox 16"/>
          <p:cNvSpPr txBox="1">
            <a:spLocks/>
          </p:cNvSpPr>
          <p:nvPr/>
        </p:nvSpPr>
        <p:spPr>
          <a:xfrm>
            <a:off x="7808411" y="1445255"/>
            <a:ext cx="3487439"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29528" eaLnBrk="1" hangingPunct="1">
              <a:buClr>
                <a:schemeClr val="tx2"/>
              </a:buClr>
              <a:defRPr sz="900" baseline="0">
                <a:latin typeface="+mn-lt"/>
              </a:defRPr>
            </a:lvl1pPr>
            <a:lvl2pPr marL="114304" lvl="1" indent="-114304" defTabSz="629528" eaLnBrk="1" hangingPunct="1">
              <a:buClr>
                <a:schemeClr val="tx1"/>
              </a:buClr>
              <a:buSzPct val="120000"/>
              <a:buFont typeface="Arial" charset="0"/>
              <a:buChar char="▪"/>
              <a:defRPr sz="900" baseline="0">
                <a:latin typeface="+mn-lt"/>
              </a:defRPr>
            </a:lvl2pPr>
            <a:lvl3pPr marL="285759" lvl="2" indent="-171456" defTabSz="629528" eaLnBrk="1" hangingPunct="1">
              <a:buClr>
                <a:schemeClr val="tx1"/>
              </a:buClr>
              <a:buSzPct val="120000"/>
              <a:buFont typeface="Arial" charset="0"/>
              <a:buChar char="–"/>
              <a:defRPr sz="900" baseline="0">
                <a:latin typeface="+mn-lt"/>
              </a:defRPr>
            </a:lvl3pPr>
            <a:lvl4pPr marL="400064" lvl="3" indent="-114304" defTabSz="629528" eaLnBrk="1" hangingPunct="1">
              <a:buClr>
                <a:schemeClr val="tx1"/>
              </a:buClr>
              <a:buSzPct val="120000"/>
              <a:buFont typeface="Arial" charset="0"/>
              <a:buChar char="▫"/>
              <a:defRPr sz="900" baseline="0">
                <a:latin typeface="+mn-lt"/>
              </a:defRPr>
            </a:lvl4pPr>
            <a:lvl5pPr marL="514368" lvl="4" indent="-114304" defTabSz="629528" eaLnBrk="1" hangingPunct="1">
              <a:buClr>
                <a:schemeClr val="tx1"/>
              </a:buClr>
              <a:buSzPct val="89000"/>
              <a:buFont typeface="Arial" charset="0"/>
              <a:buChar char="-"/>
              <a:defRPr sz="900" baseline="0">
                <a:latin typeface="+mn-lt"/>
              </a:defRPr>
            </a:lvl5pPr>
            <a:lvl6pPr marL="527195" indent="-91527" defTabSz="629528" fontAlgn="base">
              <a:spcBef>
                <a:spcPct val="0"/>
              </a:spcBef>
              <a:spcAft>
                <a:spcPct val="0"/>
              </a:spcAft>
              <a:buClr>
                <a:schemeClr val="tx2"/>
              </a:buClr>
              <a:buSzPct val="89000"/>
              <a:buFont typeface="Arial" charset="0"/>
              <a:buChar char="-"/>
              <a:defRPr sz="1125" baseline="0">
                <a:latin typeface="+mn-lt"/>
              </a:defRPr>
            </a:lvl6pPr>
            <a:lvl7pPr marL="527195" indent="-91527" defTabSz="629528" fontAlgn="base">
              <a:spcBef>
                <a:spcPct val="0"/>
              </a:spcBef>
              <a:spcAft>
                <a:spcPct val="0"/>
              </a:spcAft>
              <a:buClr>
                <a:schemeClr val="tx2"/>
              </a:buClr>
              <a:buSzPct val="89000"/>
              <a:buFont typeface="Arial" charset="0"/>
              <a:buChar char="-"/>
              <a:defRPr sz="1125" baseline="0">
                <a:latin typeface="+mn-lt"/>
              </a:defRPr>
            </a:lvl7pPr>
            <a:lvl8pPr marL="527195" indent="-91527" defTabSz="629528" fontAlgn="base">
              <a:spcBef>
                <a:spcPct val="0"/>
              </a:spcBef>
              <a:spcAft>
                <a:spcPct val="0"/>
              </a:spcAft>
              <a:buClr>
                <a:schemeClr val="tx2"/>
              </a:buClr>
              <a:buSzPct val="89000"/>
              <a:buFont typeface="Arial" charset="0"/>
              <a:buChar char="-"/>
              <a:defRPr sz="1125" baseline="0">
                <a:latin typeface="+mn-lt"/>
              </a:defRPr>
            </a:lvl8pPr>
            <a:lvl9pPr marL="527195" indent="-91527" defTabSz="629528" fontAlgn="base">
              <a:spcBef>
                <a:spcPct val="0"/>
              </a:spcBef>
              <a:spcAft>
                <a:spcPct val="0"/>
              </a:spcAft>
              <a:buClr>
                <a:schemeClr val="tx2"/>
              </a:buClr>
              <a:buSzPct val="89000"/>
              <a:buFont typeface="Arial" charset="0"/>
              <a:buChar char="-"/>
              <a:defRPr sz="1125" baseline="0">
                <a:latin typeface="+mn-lt"/>
              </a:defRPr>
            </a:lvl9pPr>
          </a:lstStyle>
          <a:p>
            <a:pPr algn="ctr" defTabSz="472112">
              <a:buClr>
                <a:srgbClr val="002960"/>
              </a:buClr>
            </a:pPr>
            <a:r>
              <a:rPr lang="es-ES_tradnl" sz="1600" b="1" dirty="0">
                <a:solidFill>
                  <a:schemeClr val="tx2"/>
                </a:solidFill>
                <a:latin typeface="Arial"/>
              </a:rPr>
              <a:t>Posibles sitios para viviendas orientadas al tránsito</a:t>
            </a:r>
          </a:p>
        </p:txBody>
      </p:sp>
      <p:grpSp>
        <p:nvGrpSpPr>
          <p:cNvPr id="153" name="Group 152"/>
          <p:cNvGrpSpPr/>
          <p:nvPr/>
        </p:nvGrpSpPr>
        <p:grpSpPr>
          <a:xfrm>
            <a:off x="700586" y="2827843"/>
            <a:ext cx="6486533" cy="1728712"/>
            <a:chOff x="119063" y="2676906"/>
            <a:chExt cx="7253287" cy="2305052"/>
          </a:xfrm>
        </p:grpSpPr>
        <p:sp>
          <p:nvSpPr>
            <p:cNvPr id="22" name="Line 6"/>
            <p:cNvSpPr>
              <a:spLocks noChangeShapeType="1"/>
            </p:cNvSpPr>
            <p:nvPr/>
          </p:nvSpPr>
          <p:spPr bwMode="auto">
            <a:xfrm>
              <a:off x="119063" y="2676906"/>
              <a:ext cx="7253287" cy="0"/>
            </a:xfrm>
            <a:prstGeom prst="line">
              <a:avLst/>
            </a:prstGeom>
            <a:ln w="12700">
              <a:solidFill>
                <a:schemeClr val="accent6"/>
              </a:solidFill>
              <a:prstDash val="sysDot"/>
            </a:ln>
            <a:extLst/>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anchor="t" anchorCtr="0" compatLnSpc="1">
              <a:prstTxWarp prst="textNoShape">
                <a:avLst/>
              </a:prstTxWarp>
            </a:bodyPr>
            <a:lstStyle/>
            <a:p>
              <a:pPr defTabSz="685750"/>
              <a:endParaRPr lang="es-ES_tradnl">
                <a:solidFill>
                  <a:srgbClr val="000000"/>
                </a:solidFill>
                <a:latin typeface="Arial"/>
              </a:endParaRPr>
            </a:p>
          </p:txBody>
        </p:sp>
        <p:sp>
          <p:nvSpPr>
            <p:cNvPr id="23" name="Line 7"/>
            <p:cNvSpPr>
              <a:spLocks noChangeShapeType="1"/>
            </p:cNvSpPr>
            <p:nvPr/>
          </p:nvSpPr>
          <p:spPr bwMode="auto">
            <a:xfrm>
              <a:off x="119063" y="3829432"/>
              <a:ext cx="7253287" cy="0"/>
            </a:xfrm>
            <a:prstGeom prst="line">
              <a:avLst/>
            </a:prstGeom>
            <a:ln w="12700">
              <a:solidFill>
                <a:schemeClr val="accent6"/>
              </a:solidFill>
              <a:prstDash val="sysDot"/>
            </a:ln>
            <a:extLst/>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anchor="t" anchorCtr="0" compatLnSpc="1">
              <a:prstTxWarp prst="textNoShape">
                <a:avLst/>
              </a:prstTxWarp>
            </a:bodyPr>
            <a:lstStyle/>
            <a:p>
              <a:pPr defTabSz="685750"/>
              <a:endParaRPr lang="es-ES_tradnl">
                <a:solidFill>
                  <a:srgbClr val="000000"/>
                </a:solidFill>
                <a:latin typeface="Arial"/>
              </a:endParaRPr>
            </a:p>
          </p:txBody>
        </p:sp>
        <p:sp>
          <p:nvSpPr>
            <p:cNvPr id="24" name="Line 8"/>
            <p:cNvSpPr>
              <a:spLocks noChangeShapeType="1"/>
            </p:cNvSpPr>
            <p:nvPr/>
          </p:nvSpPr>
          <p:spPr bwMode="auto">
            <a:xfrm>
              <a:off x="119063" y="4981958"/>
              <a:ext cx="7253287" cy="0"/>
            </a:xfrm>
            <a:prstGeom prst="line">
              <a:avLst/>
            </a:prstGeom>
            <a:ln w="12700">
              <a:solidFill>
                <a:schemeClr val="accent6"/>
              </a:solidFill>
              <a:prstDash val="solid"/>
            </a:ln>
            <a:extLst/>
          </p:spPr>
          <p:style>
            <a:lnRef idx="1">
              <a:schemeClr val="accent1"/>
            </a:lnRef>
            <a:fillRef idx="0">
              <a:schemeClr val="accent1"/>
            </a:fillRef>
            <a:effectRef idx="0">
              <a:schemeClr val="accent1"/>
            </a:effectRef>
            <a:fontRef idx="minor">
              <a:schemeClr val="tx1"/>
            </a:fontRef>
          </p:style>
          <p:txBody>
            <a:bodyPr vert="horz" wrap="square" lIns="68576" tIns="34288" rIns="68576" bIns="34288" numCol="1" anchor="t" anchorCtr="0" compatLnSpc="1">
              <a:prstTxWarp prst="textNoShape">
                <a:avLst/>
              </a:prstTxWarp>
            </a:bodyPr>
            <a:lstStyle/>
            <a:p>
              <a:pPr defTabSz="685750"/>
              <a:endParaRPr lang="es-ES_tradnl">
                <a:solidFill>
                  <a:srgbClr val="000000"/>
                </a:solidFill>
                <a:latin typeface="Arial"/>
              </a:endParaRPr>
            </a:p>
          </p:txBody>
        </p:sp>
      </p:grpSp>
      <p:sp>
        <p:nvSpPr>
          <p:cNvPr id="19" name="Rectangle 12"/>
          <p:cNvSpPr>
            <a:spLocks noChangeArrowheads="1"/>
          </p:cNvSpPr>
          <p:nvPr/>
        </p:nvSpPr>
        <p:spPr bwMode="auto">
          <a:xfrm>
            <a:off x="3449436" y="1414456"/>
            <a:ext cx="1571788"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472112" eaLnBrk="1" hangingPunct="1">
              <a:buClr>
                <a:srgbClr val="002960"/>
              </a:buClr>
            </a:pPr>
            <a:r>
              <a:rPr lang="es-ES_tradnl" b="1" dirty="0">
                <a:solidFill>
                  <a:schemeClr val="tx2"/>
                </a:solidFill>
                <a:latin typeface="Arial"/>
              </a:rPr>
              <a:t>Unidades </a:t>
            </a:r>
            <a:br>
              <a:rPr lang="es-ES_tradnl" b="1" dirty="0">
                <a:solidFill>
                  <a:schemeClr val="tx2"/>
                </a:solidFill>
                <a:latin typeface="Arial"/>
              </a:rPr>
            </a:br>
            <a:r>
              <a:rPr lang="es-ES_tradnl" b="1" dirty="0">
                <a:solidFill>
                  <a:schemeClr val="tx2"/>
                </a:solidFill>
                <a:latin typeface="Arial"/>
              </a:rPr>
              <a:t>existentes </a:t>
            </a:r>
            <a:r>
              <a:rPr lang="es-ES_tradnl" dirty="0">
                <a:solidFill>
                  <a:srgbClr val="808080"/>
                </a:solidFill>
                <a:latin typeface="Arial"/>
              </a:rPr>
              <a:t>(‘000)</a:t>
            </a:r>
          </a:p>
        </p:txBody>
      </p:sp>
      <p:sp>
        <p:nvSpPr>
          <p:cNvPr id="129" name="Oval 128"/>
          <p:cNvSpPr/>
          <p:nvPr/>
        </p:nvSpPr>
        <p:spPr>
          <a:xfrm>
            <a:off x="3449436" y="4706853"/>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27" name="Rectangle 40"/>
          <p:cNvSpPr>
            <a:spLocks noChangeArrowheads="1"/>
          </p:cNvSpPr>
          <p:nvPr/>
        </p:nvSpPr>
        <p:spPr bwMode="auto">
          <a:xfrm>
            <a:off x="3978849" y="4873320"/>
            <a:ext cx="512961"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ADEF"/>
                </a:solidFill>
                <a:latin typeface="Arial"/>
              </a:rPr>
              <a:t>1.200</a:t>
            </a:r>
          </a:p>
        </p:txBody>
      </p:sp>
      <p:sp>
        <p:nvSpPr>
          <p:cNvPr id="130" name="Oval 129"/>
          <p:cNvSpPr>
            <a:spLocks/>
          </p:cNvSpPr>
          <p:nvPr/>
        </p:nvSpPr>
        <p:spPr>
          <a:xfrm>
            <a:off x="3449436" y="2113788"/>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32" name="Rectangle 21"/>
          <p:cNvSpPr>
            <a:spLocks noChangeArrowheads="1"/>
          </p:cNvSpPr>
          <p:nvPr/>
        </p:nvSpPr>
        <p:spPr bwMode="auto">
          <a:xfrm>
            <a:off x="4064607" y="2280254"/>
            <a:ext cx="34144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0000"/>
                </a:solidFill>
                <a:latin typeface="Arial"/>
              </a:rPr>
              <a:t>600</a:t>
            </a:r>
          </a:p>
        </p:txBody>
      </p:sp>
      <p:sp>
        <p:nvSpPr>
          <p:cNvPr id="134" name="Oval 133"/>
          <p:cNvSpPr/>
          <p:nvPr/>
        </p:nvSpPr>
        <p:spPr>
          <a:xfrm>
            <a:off x="3449436" y="2978142"/>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37" name="Rectangle 28"/>
          <p:cNvSpPr>
            <a:spLocks noChangeArrowheads="1"/>
          </p:cNvSpPr>
          <p:nvPr/>
        </p:nvSpPr>
        <p:spPr bwMode="auto">
          <a:xfrm>
            <a:off x="4064607" y="3144611"/>
            <a:ext cx="34144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0000"/>
                </a:solidFill>
                <a:latin typeface="Arial"/>
              </a:rPr>
              <a:t>400</a:t>
            </a:r>
          </a:p>
        </p:txBody>
      </p:sp>
      <p:sp>
        <p:nvSpPr>
          <p:cNvPr id="137" name="Oval 136"/>
          <p:cNvSpPr/>
          <p:nvPr/>
        </p:nvSpPr>
        <p:spPr>
          <a:xfrm>
            <a:off x="3449436" y="3842499"/>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40" name="Rectangle 35"/>
          <p:cNvSpPr>
            <a:spLocks noChangeArrowheads="1"/>
          </p:cNvSpPr>
          <p:nvPr/>
        </p:nvSpPr>
        <p:spPr bwMode="auto">
          <a:xfrm>
            <a:off x="4064607" y="4008966"/>
            <a:ext cx="34144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0000"/>
                </a:solidFill>
                <a:latin typeface="Arial"/>
              </a:rPr>
              <a:t>200</a:t>
            </a:r>
          </a:p>
        </p:txBody>
      </p:sp>
      <p:cxnSp>
        <p:nvCxnSpPr>
          <p:cNvPr id="21" name="Straight Connector 20"/>
          <p:cNvCxnSpPr>
            <a:cxnSpLocks/>
          </p:cNvCxnSpPr>
          <p:nvPr/>
        </p:nvCxnSpPr>
        <p:spPr>
          <a:xfrm>
            <a:off x="7497760" y="2041033"/>
            <a:ext cx="0" cy="3235756"/>
          </a:xfrm>
          <a:prstGeom prst="line">
            <a:avLst/>
          </a:prstGeom>
          <a:ln w="12700">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20" name="Rectangle 14"/>
          <p:cNvSpPr>
            <a:spLocks noChangeArrowheads="1"/>
          </p:cNvSpPr>
          <p:nvPr/>
        </p:nvSpPr>
        <p:spPr bwMode="auto">
          <a:xfrm>
            <a:off x="5615327" y="1168235"/>
            <a:ext cx="1571788"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472112" eaLnBrk="1" hangingPunct="1">
              <a:buClr>
                <a:srgbClr val="002960"/>
              </a:buClr>
            </a:pPr>
            <a:r>
              <a:rPr lang="es-ES_tradnl" b="1" dirty="0">
                <a:solidFill>
                  <a:schemeClr val="tx2"/>
                </a:solidFill>
                <a:latin typeface="Arial"/>
              </a:rPr>
              <a:t>Unidades</a:t>
            </a:r>
          </a:p>
          <a:p>
            <a:pPr algn="ctr" defTabSz="472112" eaLnBrk="1" hangingPunct="1">
              <a:buClr>
                <a:srgbClr val="002960"/>
              </a:buClr>
              <a:buSzPct val="100000"/>
            </a:pPr>
            <a:r>
              <a:rPr lang="es-ES_tradnl" b="1" dirty="0">
                <a:solidFill>
                  <a:schemeClr val="tx2"/>
                </a:solidFill>
                <a:latin typeface="Arial"/>
              </a:rPr>
              <a:t>Adicionales</a:t>
            </a:r>
            <a:r>
              <a:rPr lang="es-ES_tradnl" b="1" baseline="30000" dirty="0">
                <a:solidFill>
                  <a:schemeClr val="tx2"/>
                </a:solidFill>
                <a:latin typeface="Arial"/>
              </a:rPr>
              <a:t>1</a:t>
            </a:r>
            <a:r>
              <a:rPr lang="es-ES_tradnl" b="1" dirty="0">
                <a:solidFill>
                  <a:schemeClr val="tx2"/>
                </a:solidFill>
                <a:latin typeface="Arial"/>
              </a:rPr>
              <a:t> </a:t>
            </a:r>
            <a:r>
              <a:rPr lang="es-ES_tradnl" dirty="0">
                <a:solidFill>
                  <a:srgbClr val="808080"/>
                </a:solidFill>
                <a:latin typeface="Arial"/>
              </a:rPr>
              <a:t>(‘000)</a:t>
            </a:r>
          </a:p>
        </p:txBody>
      </p:sp>
      <p:sp>
        <p:nvSpPr>
          <p:cNvPr id="128" name="Oval 127"/>
          <p:cNvSpPr/>
          <p:nvPr/>
        </p:nvSpPr>
        <p:spPr>
          <a:xfrm>
            <a:off x="5615327" y="4706853"/>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28" name="Rectangle 41"/>
          <p:cNvSpPr>
            <a:spLocks noChangeArrowheads="1"/>
          </p:cNvSpPr>
          <p:nvPr/>
        </p:nvSpPr>
        <p:spPr bwMode="auto">
          <a:xfrm>
            <a:off x="5796091" y="4873320"/>
            <a:ext cx="1210268"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ADEF"/>
                </a:solidFill>
                <a:latin typeface="Arial"/>
              </a:rPr>
              <a:t>1.200 - 3.000</a:t>
            </a:r>
          </a:p>
        </p:txBody>
      </p:sp>
      <p:sp>
        <p:nvSpPr>
          <p:cNvPr id="131" name="Oval 130"/>
          <p:cNvSpPr>
            <a:spLocks/>
          </p:cNvSpPr>
          <p:nvPr/>
        </p:nvSpPr>
        <p:spPr>
          <a:xfrm>
            <a:off x="5615327" y="2113788"/>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33" name="Rectangle 22"/>
          <p:cNvSpPr>
            <a:spLocks noChangeArrowheads="1"/>
          </p:cNvSpPr>
          <p:nvPr/>
        </p:nvSpPr>
        <p:spPr bwMode="auto">
          <a:xfrm>
            <a:off x="6230500" y="2280254"/>
            <a:ext cx="34144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0000"/>
                </a:solidFill>
                <a:latin typeface="Arial"/>
              </a:rPr>
              <a:t>400</a:t>
            </a:r>
          </a:p>
        </p:txBody>
      </p:sp>
      <p:sp>
        <p:nvSpPr>
          <p:cNvPr id="135" name="Oval 134"/>
          <p:cNvSpPr/>
          <p:nvPr/>
        </p:nvSpPr>
        <p:spPr>
          <a:xfrm>
            <a:off x="5615327" y="2978142"/>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38" name="Rectangle 29"/>
          <p:cNvSpPr>
            <a:spLocks noChangeArrowheads="1"/>
          </p:cNvSpPr>
          <p:nvPr/>
        </p:nvSpPr>
        <p:spPr bwMode="auto">
          <a:xfrm>
            <a:off x="5967609" y="3144611"/>
            <a:ext cx="86722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0000"/>
                </a:solidFill>
                <a:latin typeface="Arial"/>
              </a:rPr>
              <a:t>300 - 900</a:t>
            </a:r>
          </a:p>
        </p:txBody>
      </p:sp>
      <p:sp>
        <p:nvSpPr>
          <p:cNvPr id="138" name="Oval 137"/>
          <p:cNvSpPr/>
          <p:nvPr/>
        </p:nvSpPr>
        <p:spPr>
          <a:xfrm>
            <a:off x="5615327" y="3842499"/>
            <a:ext cx="1571788" cy="563758"/>
          </a:xfrm>
          <a:prstGeom prst="ellipse">
            <a:avLst/>
          </a:prstGeom>
          <a:gradFill flip="none" rotWithShape="1">
            <a:gsLst>
              <a:gs pos="0">
                <a:schemeClr val="bg1"/>
              </a:gs>
              <a:gs pos="100000">
                <a:schemeClr val="accent1">
                  <a:lumMod val="30000"/>
                  <a:lumOff val="70000"/>
                </a:schemeClr>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endParaRPr lang="es-ES_tradnl" sz="1400" b="1">
              <a:solidFill>
                <a:srgbClr val="000000"/>
              </a:solidFill>
              <a:latin typeface="Arial"/>
            </a:endParaRPr>
          </a:p>
        </p:txBody>
      </p:sp>
      <p:sp>
        <p:nvSpPr>
          <p:cNvPr id="41" name="Rectangle 36"/>
          <p:cNvSpPr>
            <a:spLocks noChangeArrowheads="1"/>
          </p:cNvSpPr>
          <p:nvPr/>
        </p:nvSpPr>
        <p:spPr bwMode="auto">
          <a:xfrm>
            <a:off x="5881852" y="4008966"/>
            <a:ext cx="1038746"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50"/>
            <a:r>
              <a:rPr lang="es-ES_tradnl" b="1">
                <a:solidFill>
                  <a:srgbClr val="000000"/>
                </a:solidFill>
                <a:latin typeface="Arial"/>
              </a:rPr>
              <a:t>500 - 1.700</a:t>
            </a:r>
          </a:p>
        </p:txBody>
      </p:sp>
      <p:sp>
        <p:nvSpPr>
          <p:cNvPr id="18" name="Rectangle 10"/>
          <p:cNvSpPr>
            <a:spLocks noChangeArrowheads="1"/>
          </p:cNvSpPr>
          <p:nvPr/>
        </p:nvSpPr>
        <p:spPr bwMode="auto">
          <a:xfrm>
            <a:off x="737722" y="1676076"/>
            <a:ext cx="1476479"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472112" eaLnBrk="1" hangingPunct="1">
              <a:buClr>
                <a:srgbClr val="002960"/>
              </a:buClr>
            </a:pPr>
            <a:r>
              <a:rPr lang="es-ES_tradnl" b="1" dirty="0">
                <a:solidFill>
                  <a:schemeClr val="tx2"/>
                </a:solidFill>
                <a:latin typeface="Arial"/>
              </a:rPr>
              <a:t>Tipo urbano</a:t>
            </a:r>
          </a:p>
        </p:txBody>
      </p:sp>
      <p:sp>
        <p:nvSpPr>
          <p:cNvPr id="26" name="Rectangle 39"/>
          <p:cNvSpPr>
            <a:spLocks noChangeArrowheads="1"/>
          </p:cNvSpPr>
          <p:nvPr/>
        </p:nvSpPr>
        <p:spPr bwMode="auto">
          <a:xfrm>
            <a:off x="737719" y="4873320"/>
            <a:ext cx="475258"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50"/>
            <a:r>
              <a:rPr lang="es-ES_tradnl" b="1" dirty="0">
                <a:solidFill>
                  <a:srgbClr val="00ADEF"/>
                </a:solidFill>
                <a:latin typeface="Arial"/>
              </a:rPr>
              <a:t>Total</a:t>
            </a:r>
          </a:p>
        </p:txBody>
      </p:sp>
      <p:sp>
        <p:nvSpPr>
          <p:cNvPr id="30" name="Rectangle 19"/>
          <p:cNvSpPr>
            <a:spLocks noChangeArrowheads="1"/>
          </p:cNvSpPr>
          <p:nvPr/>
        </p:nvSpPr>
        <p:spPr bwMode="auto">
          <a:xfrm>
            <a:off x="1012916" y="2280254"/>
            <a:ext cx="116057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50"/>
            <a:r>
              <a:rPr lang="es-ES_tradnl">
                <a:solidFill>
                  <a:srgbClr val="000000"/>
                </a:solidFill>
                <a:latin typeface="Arial"/>
              </a:rPr>
              <a:t>Hub regional</a:t>
            </a:r>
          </a:p>
        </p:txBody>
      </p:sp>
      <p:sp>
        <p:nvSpPr>
          <p:cNvPr id="31" name="Oval 30"/>
          <p:cNvSpPr/>
          <p:nvPr/>
        </p:nvSpPr>
        <p:spPr>
          <a:xfrm>
            <a:off x="737718" y="2315900"/>
            <a:ext cx="180000" cy="180000"/>
          </a:xfrm>
          <a:prstGeom prst="ellipse">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8" rIns="68576" bIns="34288" numCol="1" spcCol="0" rtlCol="0" fromWordArt="0" anchor="ctr" anchorCtr="0" forceAA="0" compatLnSpc="1">
            <a:prstTxWarp prst="textNoShape">
              <a:avLst/>
            </a:prstTxWarp>
            <a:noAutofit/>
          </a:bodyPr>
          <a:lstStyle/>
          <a:p>
            <a:pPr algn="ctr" defTabSz="685750"/>
            <a:endParaRPr lang="es-ES_tradnl">
              <a:solidFill>
                <a:srgbClr val="000000"/>
              </a:solidFill>
              <a:latin typeface="Arial"/>
            </a:endParaRPr>
          </a:p>
        </p:txBody>
      </p:sp>
      <p:sp>
        <p:nvSpPr>
          <p:cNvPr id="35" name="Rectangle 24"/>
          <p:cNvSpPr>
            <a:spLocks noChangeArrowheads="1"/>
          </p:cNvSpPr>
          <p:nvPr/>
        </p:nvSpPr>
        <p:spPr bwMode="auto">
          <a:xfrm>
            <a:off x="1012919" y="3144611"/>
            <a:ext cx="1311256"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50"/>
            <a:r>
              <a:rPr lang="es-ES_tradnl">
                <a:solidFill>
                  <a:srgbClr val="000000"/>
                </a:solidFill>
                <a:latin typeface="Arial"/>
              </a:rPr>
              <a:t>Centro urbano</a:t>
            </a:r>
          </a:p>
        </p:txBody>
      </p:sp>
      <p:sp>
        <p:nvSpPr>
          <p:cNvPr id="36" name="Oval 35"/>
          <p:cNvSpPr/>
          <p:nvPr/>
        </p:nvSpPr>
        <p:spPr>
          <a:xfrm>
            <a:off x="737718" y="3180255"/>
            <a:ext cx="180000" cy="180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8" rIns="68576" bIns="34288" numCol="1" spcCol="0" rtlCol="0" fromWordArt="0" anchor="ctr" anchorCtr="0" forceAA="0" compatLnSpc="1">
            <a:prstTxWarp prst="textNoShape">
              <a:avLst/>
            </a:prstTxWarp>
            <a:noAutofit/>
          </a:bodyPr>
          <a:lstStyle/>
          <a:p>
            <a:pPr algn="ctr" defTabSz="685750"/>
            <a:endParaRPr lang="es-ES_tradnl">
              <a:solidFill>
                <a:srgbClr val="000000"/>
              </a:solidFill>
              <a:latin typeface="Arial"/>
            </a:endParaRPr>
          </a:p>
        </p:txBody>
      </p:sp>
      <p:sp>
        <p:nvSpPr>
          <p:cNvPr id="42" name="Rectangle 33"/>
          <p:cNvSpPr>
            <a:spLocks noChangeArrowheads="1"/>
          </p:cNvSpPr>
          <p:nvPr/>
        </p:nvSpPr>
        <p:spPr bwMode="auto">
          <a:xfrm>
            <a:off x="1012920" y="4008966"/>
            <a:ext cx="1514838"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750"/>
            <a:r>
              <a:rPr lang="es-ES_tradnl">
                <a:solidFill>
                  <a:srgbClr val="000000"/>
                </a:solidFill>
                <a:latin typeface="Arial"/>
              </a:rPr>
              <a:t>Nodo suburbano</a:t>
            </a:r>
          </a:p>
        </p:txBody>
      </p:sp>
      <p:sp>
        <p:nvSpPr>
          <p:cNvPr id="43" name="Oval 42"/>
          <p:cNvSpPr/>
          <p:nvPr/>
        </p:nvSpPr>
        <p:spPr>
          <a:xfrm>
            <a:off x="737718" y="4044610"/>
            <a:ext cx="180000" cy="180000"/>
          </a:xfrm>
          <a:prstGeom prst="ellipse">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8" rIns="68576" bIns="34288" numCol="1" spcCol="0" rtlCol="0" fromWordArt="0" anchor="ctr" anchorCtr="0" forceAA="0" compatLnSpc="1">
            <a:prstTxWarp prst="textNoShape">
              <a:avLst/>
            </a:prstTxWarp>
            <a:noAutofit/>
          </a:bodyPr>
          <a:lstStyle/>
          <a:p>
            <a:pPr algn="ctr" defTabSz="685750"/>
            <a:endParaRPr lang="es-ES_tradnl">
              <a:solidFill>
                <a:srgbClr val="000000"/>
              </a:solidFill>
              <a:latin typeface="Arial"/>
            </a:endParaRPr>
          </a:p>
        </p:txBody>
      </p:sp>
      <p:pic>
        <p:nvPicPr>
          <p:cNvPr id="44" name="Picture 43"/>
          <p:cNvPicPr>
            <a:picLocks/>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798340" y="2034855"/>
            <a:ext cx="2795759" cy="3235756"/>
          </a:xfrm>
          <a:prstGeom prst="rect">
            <a:avLst/>
          </a:prstGeom>
          <a:noFill/>
          <a:ln>
            <a:noFill/>
          </a:ln>
        </p:spPr>
      </p:pic>
      <p:sp>
        <p:nvSpPr>
          <p:cNvPr id="48" name="Oval 47">
            <a:extLst>
              <a:ext uri="{FF2B5EF4-FFF2-40B4-BE49-F238E27FC236}">
                <a16:creationId xmlns:a16="http://schemas.microsoft.com/office/drawing/2014/main" id="{011FA4AD-198B-43D5-B3B6-A820CC1BB388}"/>
              </a:ext>
            </a:extLst>
          </p:cNvPr>
          <p:cNvSpPr/>
          <p:nvPr/>
        </p:nvSpPr>
        <p:spPr>
          <a:xfrm>
            <a:off x="739140" y="353603"/>
            <a:ext cx="365760" cy="36576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s-ES_tradnl" sz="1900" b="1">
                <a:solidFill>
                  <a:schemeClr val="bg1"/>
                </a:solidFill>
              </a:rPr>
              <a:t>1A</a:t>
            </a:r>
          </a:p>
        </p:txBody>
      </p:sp>
    </p:spTree>
    <p:extLst>
      <p:ext uri="{BB962C8B-B14F-4D97-AF65-F5344CB8AC3E}">
        <p14:creationId xmlns:p14="http://schemas.microsoft.com/office/powerpoint/2010/main" val="229384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ISNEWSLIDENUMBER" val="True"/>
  <p:tag name="NEWNAMES" val="True"/>
  <p:tag name="MTBTACCENT" val="Text2"/>
  <p:tag name="PREVIOUSNAME" val="C:\Users\Santiago Carbonell\Documents\1. Client work\Asobancaria\Asobancaria Presentacion McKinsey.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6Rd74OjRkukn5zZjBpB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IlGwEmvQMu._3GEUWhC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YWolrMsSbClnK0W7fKi8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VgPXglaRmi0nHY6n_J1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E1QVV6eTqec9r5dW2mmb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dO69KfBTgG0lIQZcqiq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2yT3KuYRHmoMNYMWF3ed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CqnESqZT4CBTzB5_HHy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sZ_4DV_S.WzU17JbDRk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dEel3IOQq.Xq8So39Blhw"/>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FpXgP8KSCaNUh1mYJ38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lrOp7UhRHKnzR0XgtuC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ThgDQ8YRpea.Gtw.n_Ho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7os2QNF5R9WugI1aFgSJ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b4sICp0RSGzz1duYEjb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AlNmCyzStu94gmEGYsCI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6bFTYupTOa047D5lw2_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jkB_DwnR4i6pqvAYeDIY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aCDyLCtRde_KCnyVBdg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iiZ6lrOTdqpnXsrn00yhg"/>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wFdV8aGSsyV9MHvTLnq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nJ.t5coS4umPrTX77CR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qhgQuU5QPiFtKqfAaGFO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GKov7FoSGG7fXxQ3agIN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xQd2ts8SqW.j95t3Tus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ociFN2wTbug__QRnlLe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ScZxHL6QriqRKC1aMNC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4ly3usSHq97xyT7FED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MGOIm9MTMOEs6j7s7GSu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ZEqbypdQ4ejoryx3Ii_Bg"/>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H_vrj72T0Wf5u.7Or0v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ARjv7OLSbOmMQ6JFMfr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fpzRtm7S46D9qKS7w8oL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abt2VjUTkmQxv9j3RKN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5veIpUzTsC4QqgxZmx0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RA8hW.aT5aYtPJDy_fT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5_S4ooyTtm9tJLNFCfk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yEuFIWYRQy4kGm0508kP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kr08vFEQIqgzvZOF4ad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ACiMzulTIG_Ejd5F9wEfw"/>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H6i8saMT0Gy87dG0FYfq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oQgtdWOSnyK7shwTp1l_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ObQA1ilTRqtRYyGAY3Kv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o8Dc6MgTEmXGRZB3J6A2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0fRimn2BTEK_TQ4q3K_AR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JcEoJjFQYKaBlU_03u1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03K_9EJT0We_KYxca9J7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0g3CENaTQOsQnVzK7z2N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oWi75PyTy.KZLMgaWRSt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RESIZE" val="Yes"/>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NAME" val="RectangleText"/>
</p:tagLst>
</file>

<file path=ppt/tags/tag153.xml><?xml version="1.0" encoding="utf-8"?>
<p:tagLst xmlns:a="http://schemas.openxmlformats.org/drawingml/2006/main" xmlns:r="http://schemas.openxmlformats.org/officeDocument/2006/relationships" xmlns:p="http://schemas.openxmlformats.org/presentationml/2006/main">
  <p:tag name="NAME" val="RectangleTex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tpG_zS0mkWYUui7mmGoq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RGroHpf1U.E5fzkNZkW1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G0fRy47WuUuCb6gBPxHh5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xwxOTC.dkG9_9VHeBeyZ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3x7NpejB70CXGs1RR.67FA"/>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ISLEGEND" val="tru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L8FuQ3oIT8K9ES5uTdMc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ZONTCFHxE2MVV6y7lE3r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4E3w4KbRke_OLncvBQii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KjRZme80KxkmV7kUs0W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1vd5bhvo0iv9Lg9QyFW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SIkpmY2uEOSgq8tv3enuw"/>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QA2ajc0UUi0oTlDmmnlV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qJ1Tl_JwU.aLQILCQwrW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9.OZypxAxUW4QNp39F7Ud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06wkdr7D0uUqsGGQ2wM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y6TKJOkyUyBF0vvqJkk9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ZIiihh4Hk2oIwzOC5orO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9DwiYVmrE.Z_lCifu1d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eMbwjYcl0KioWEiJbuB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kH9pgE6V0mAZ_OQgqlD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hxNe76PUUCZFvjXcLR1tA"/>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pt0oMOV.EmUu0Ilu1_eZ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xQ1mhGk.0KOt9.k4Eh2q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ZyVuTUtc0ux48i7vWXyB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6C6cuBT40ygsI0riLii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3VbvNamEkGzcGVBVVAbp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vIBVgdUP0yHmyqcuIwFp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9N.UMgtmL0OGcNPhTEuJ.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om.iTVieEKrgQZCZb.2v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73U3kiDHTDinqeNGZSQME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vc3Ew0nYUKtSHesCGWb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ig0iPc4lQWK4unJpG7LlY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3CHQk5uzO0eDRJG8F1fde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XAzHJFcEkSu5jeDChVY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f9neZgOQfeB5n_YLzIfTQ"/>
</p:tagLst>
</file>

<file path=ppt/tags/tag194.xml><?xml version="1.0" encoding="utf-8"?>
<p:tagLst xmlns:a="http://schemas.openxmlformats.org/drawingml/2006/main" xmlns:r="http://schemas.openxmlformats.org/officeDocument/2006/relationships" xmlns:p="http://schemas.openxmlformats.org/presentationml/2006/main">
  <p:tag name="NAME" val="DoubleChevron"/>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Rectangle"/>
</p:tagLst>
</file>

<file path=ppt/tags/tag198.xml><?xml version="1.0" encoding="utf-8"?>
<p:tagLst xmlns:a="http://schemas.openxmlformats.org/drawingml/2006/main" xmlns:r="http://schemas.openxmlformats.org/officeDocument/2006/relationships" xmlns:p="http://schemas.openxmlformats.org/presentationml/2006/main">
  <p:tag name="NAME" val="Rectangle"/>
</p:tagLst>
</file>

<file path=ppt/tags/tag199.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Rectangl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3C2S64XQQGutGGiAhy.QPQ"/>
</p:tagLst>
</file>

<file path=ppt/tags/tag203.xml><?xml version="1.0" encoding="utf-8"?>
<p:tagLst xmlns:a="http://schemas.openxmlformats.org/drawingml/2006/main" xmlns:r="http://schemas.openxmlformats.org/officeDocument/2006/relationships" xmlns:p="http://schemas.openxmlformats.org/presentationml/2006/main">
  <p:tag name="NAME" val="SingleBoatText"/>
</p:tagLst>
</file>

<file path=ppt/tags/tag204.xml><?xml version="1.0" encoding="utf-8"?>
<p:tagLst xmlns:a="http://schemas.openxmlformats.org/drawingml/2006/main" xmlns:r="http://schemas.openxmlformats.org/officeDocument/2006/relationships" xmlns:p="http://schemas.openxmlformats.org/presentationml/2006/main">
  <p:tag name="NAME" val="SingleBoatText"/>
</p:tagLst>
</file>

<file path=ppt/tags/tag205.xml><?xml version="1.0" encoding="utf-8"?>
<p:tagLst xmlns:a="http://schemas.openxmlformats.org/drawingml/2006/main" xmlns:r="http://schemas.openxmlformats.org/officeDocument/2006/relationships" xmlns:p="http://schemas.openxmlformats.org/presentationml/2006/main">
  <p:tag name="NAME" val="SingleBoatTex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1jDkvr6R8Gv0402YY88e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s.YO_JZTwij1frHzQBLR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SWHsvZIfR0K6a7zTSHCDD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4WmxVE7TWCT_U8U9gGZ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RSpNdSRTEWCDEa4QH8G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oZtdmB7R3.05OLlRQeCW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6D_ThFHSEWdEWqOoHCZ0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d98clDmTIOMcPVdlkxlL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CPagiAaVSYW_ef.pjdA9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YUSmln9TVCVmCVLCSIU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_AgfwzwaR6ud_NzHId_vQ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C9HmsFES_.hAP.4UxpAB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_mAisnU5TWaLzd0Q897gA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4aZ1CSsQfWDwRTD12yH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RectangleText"/>
</p:tagLst>
</file>

<file path=ppt/tags/tag221.xml><?xml version="1.0" encoding="utf-8"?>
<p:tagLst xmlns:a="http://schemas.openxmlformats.org/drawingml/2006/main" xmlns:r="http://schemas.openxmlformats.org/officeDocument/2006/relationships" xmlns:p="http://schemas.openxmlformats.org/presentationml/2006/main">
  <p:tag name="NAME" val="RectangleText"/>
</p:tagLst>
</file>

<file path=ppt/tags/tag222.xml><?xml version="1.0" encoding="utf-8"?>
<p:tagLst xmlns:a="http://schemas.openxmlformats.org/drawingml/2006/main" xmlns:r="http://schemas.openxmlformats.org/officeDocument/2006/relationships" xmlns:p="http://schemas.openxmlformats.org/presentationml/2006/main">
  <p:tag name="NAME" val="RectangleTex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SpQs89rZk0yw7bD6ls98I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7JjtT0IidU6G3y.6GJBD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XmVAMa9AdU2nuWx3IM.B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jpkmbvW2kKsV0tzzEMH8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vxL7l2AsYECOd9cwNRkSBA"/>
</p:tagLst>
</file>

<file path=ppt/tags/tag228.xml><?xml version="1.0" encoding="utf-8"?>
<p:tagLst xmlns:a="http://schemas.openxmlformats.org/drawingml/2006/main" xmlns:r="http://schemas.openxmlformats.org/officeDocument/2006/relationships" xmlns:p="http://schemas.openxmlformats.org/presentationml/2006/main">
  <p:tag name="NAME" val="RectangleText"/>
</p:tagLst>
</file>

<file path=ppt/tags/tag229.xml><?xml version="1.0" encoding="utf-8"?>
<p:tagLst xmlns:a="http://schemas.openxmlformats.org/drawingml/2006/main" xmlns:r="http://schemas.openxmlformats.org/officeDocument/2006/relationships" xmlns:p="http://schemas.openxmlformats.org/presentationml/2006/main">
  <p:tag name="NAME" val="RectangleTex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30.xml><?xml version="1.0" encoding="utf-8"?>
<p:tagLst xmlns:a="http://schemas.openxmlformats.org/drawingml/2006/main" xmlns:r="http://schemas.openxmlformats.org/officeDocument/2006/relationships" xmlns:p="http://schemas.openxmlformats.org/presentationml/2006/main">
  <p:tag name="MTTABLE" val="Cell"/>
  <p:tag name="MTNUMBER" val="0.418620244329153"/>
  <p:tag name="LEFT" val="9.375039"/>
  <p:tag name="WIDTH" val="219.5417"/>
  <p:tag name="TOP" val="109.3875"/>
  <p:tag name="HEIGHT" val="79.96559"/>
</p:tagLst>
</file>

<file path=ppt/tags/tag231.xml><?xml version="1.0" encoding="utf-8"?>
<p:tagLst xmlns:a="http://schemas.openxmlformats.org/drawingml/2006/main" xmlns:r="http://schemas.openxmlformats.org/officeDocument/2006/relationships" xmlns:p="http://schemas.openxmlformats.org/presentationml/2006/main">
  <p:tag name="MTTABLE" val="Cell"/>
  <p:tag name="MTNUMBER" val="0.418620244329153"/>
  <p:tag name="LEFT" val="9.375039"/>
  <p:tag name="WIDTH" val="219.5417"/>
  <p:tag name="TOP" val="199.3531"/>
  <p:tag name="HEIGHT" val="79.96559"/>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ISLEGEND" val="true"/>
</p:tagLst>
</file>

<file path=ppt/tags/tag234.xml><?xml version="1.0" encoding="utf-8"?>
<p:tagLst xmlns:a="http://schemas.openxmlformats.org/drawingml/2006/main" xmlns:r="http://schemas.openxmlformats.org/officeDocument/2006/relationships" xmlns:p="http://schemas.openxmlformats.org/presentationml/2006/main">
  <p:tag name="ISLEGEND" val="tru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RSPdGalQW2nyUpHUcNohg"/>
</p:tagLst>
</file>

<file path=ppt/tags/tag237.xml><?xml version="1.0" encoding="utf-8"?>
<p:tagLst xmlns:a="http://schemas.openxmlformats.org/drawingml/2006/main" xmlns:r="http://schemas.openxmlformats.org/officeDocument/2006/relationships" xmlns:p="http://schemas.openxmlformats.org/presentationml/2006/main">
  <p:tag name="NAME" val="Rectang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_da.cLTPTSupUTaPKNgDO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oVNrHliQV67_RgCCf3.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RGt6Hq6SCyPEipD7lDlH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mShej_aSwupQYVPGX.a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SPKfSnES6._MVmS8THel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JsAnmBPpQJ2bzpOoT5Lx9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eqkfsKGSsOxLvcrqNVfpQ"/>
</p:tagLst>
</file>

<file path=ppt/tags/tag245.xml><?xml version="1.0" encoding="utf-8"?>
<p:tagLst xmlns:a="http://schemas.openxmlformats.org/drawingml/2006/main" xmlns:r="http://schemas.openxmlformats.org/officeDocument/2006/relationships" xmlns:p="http://schemas.openxmlformats.org/presentationml/2006/main">
  <p:tag name="NAME" val="Rectang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1a4DIjSTpC4ccFjX0sgc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MDgBvBd0QGuCd6_OMiM7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mgVCAOhS8eczqzwTeX_k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2hH2hgkS.66aeCQXijA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QO7xQxnSmusi8vFvmaNj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gfPsyy_RA.C6u0BFngRD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NHVCj9cEQUWk0WTsRrEFB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6aP9.ipvTbmW9k844lXhW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8.GBblMSQWXiXAj1DWFX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w_8b8hpNRCa3sIMhjo66F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O6L674dHRiy7HHrDnRYj9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y26PLbOQk2wx855h0XA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R9HRApCSqK0fW0fdpjF1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lpFqCi0tTOqjERphvKRC0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kMv0D6bSRPqJFArkOmj3.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TxZkwPfRoWGUSj0sFDM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3o3w3CrJQPqS2MJgJ.CL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U1Q9BE9gSsSVcxAT3k8Gs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fwewPKaRKK25fQYQyO13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zebfyoDS5GL69DMeWgXt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kfjMoNeQ_ef9tAnoOjQ9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cihPtIWUQCO7is_hFCNG0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3VygsEDiTyqm3D209jy0_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yKx5VC7SDa0bbNi.bDh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TdQi8jYT8i5QVfwpXguK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cJwjf_aTQ2Ea3gmQG_qq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Nio4AAqSP6uB7EuN6xR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7FQXTwWRUmp790mFR5X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xS4.3UXTqiihEKcwjpu.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UTjMHaYSLCPi7EFU19bj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_jDqxMkCRYuYZjBohzAhT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SvoALmhRBuGDvxLgxjGq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Ls.w_SCTGSze35PvlP7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nCt7i8XSImrYsGtMxZK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2FjB5sRR9CxmM1rxB.8E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ceZhwHuT4e.rzVtyjqgq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qcQhLJhR96RAQuezfvQ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Ky5ix9yRX.OgQXC4oHBT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23VKX8aFSOSaGUhatmrsa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kLUIJdbnSJ.MeYir1ktio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BNrzrb6QHGh_qnQv7.EX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2yCozXgQtm3gEcMWW4zV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xMdzcpoTriCyDkEAMp_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0HXnp46FTfSpK_nkl9137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2aelduSQTChg8F8SDmX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_z3fwe2STKjrRaby7UWo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OKLFdAnTZqgqRuzRMuq_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cdoC_6NhTyKDypnh9mcaQ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JsQIzRETxyvW3OqQ8.GX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04Bk_VDTh.QEwTHM0GnC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bDW7tqHVTEC_8luf7D2Qy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hTB18yVRWy5qu0Jzim7u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yWnAf61ATSSf8Sd93oKn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EBJzwzvSR2VgqJMTy.0T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Enz_e9XMRKSrNHKkV3IB0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8t3L2tjS.qU6xX1DQsz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ChM6FlQseOtxSeMI7k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RQUtQMqSbuc9lWAgAz2N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3yRQFwkQuqViVZvvNdoj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jLNB9xFR72LjJW8N55R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7Iy5a9MS7WcGVoTXezTEQ"/>
</p:tagLst>
</file>

<file path=ppt/tags/tag3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1a4DIjSTpC4ccFjX0sg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kcKvc5cQNWMVrDfYOOLa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DgBvBd0QGuCd6_OMiM78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fwewPKaRKK25fQYQyO13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RfcqtkWRC2YbvI.2w2TQ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San7auKwTdKr8iibe4bKs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yoZDnDZSgOaloiBKFkbn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8TdQi8jYT8i5QVfwpXguK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ozVPWEmR8St5IoD2cxIL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ihPtIWUQCO7is_hFCNG0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fvJ_BC4T1uNGcbOVqwZC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74UpnJWQDG6JPNwYG7h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WJsWf8vS12uhzPNE3FNO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TfWft95SaW7ObxwJOnF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mwJlMyF1S9OeHnfhRBjL6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mgVCAOhS8eczqzwTeX_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NTxZkwPfRoWGUSj0sFDMh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lCuDNkSRD2MrISMtaOCe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ZMcdpgwSV2cSG_biW8hb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SdNRrMpTc.361lpFtlDR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7FQXTwWRUmp790mFR5Xp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Mv0D6bSRPqJFArkOmj3.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gfPsyy_RA.C6u0BFngR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EkrGg52QKWgor2sQK7Xj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jrDYJWcQCqmP.yB2tr2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cBKq5b4TBi0FKibtA9wi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1S89zA7QPWrau702CgmN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CKbrlYPTsOFUKgTgZCw6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O6L674dHRiy7HHrDnRYj9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_8b8hpNRCa3sIMhjo66F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4Cy6G_qQU.fORvUpt9Kz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K8.GBblMSQWXiXAj1DWFX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1UTjMHaYSLCPi7EFU19bj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YSvoALmhRBuGDvxLgxjG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vMuFTAiRsa7L3WpXt3QA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0HXnp46FTfSpK_nkl9137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3VKX8aFSOSaGUhatmrsa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hTB18yVRWy5qu0Jzim7u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BNrzrb6QHGh_qnQv7.EX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Ls.w_SCTGSze35PvlP7Z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B7Iy5a9MS7WcGVoTXezTE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jLNB9xFR72LjJW8N55RM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Ky5ix9yRX.OgQXC4oHBT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qcQhLJhR96RAQuezfvQ_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Enz_e9XMRKSrNHKkV3IB0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3eoShoxRoW0vyVgFGI_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MnCt7i8XSImrYsGtMxZKC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RQUtQMqSbuc9lWAgAz2N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xMdzcpoTriCyDkEAMp_K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3yRQFwkQuqViVZvvNdo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cdoC_6NhTyKDypnh9mcaQ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8t3L2tjS.qU6xX1DQsza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JsQIzRETxyvW3OqQ8.GX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OKLFdAnTZqgqRuzRMuq_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f04Bk_VDTh.QEwTHM0Gn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DW7tqHVTEC_8luf7D2Q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Q1iTo34Rf6AIw.iQxHqu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_NpNn_XT_GRxTRWzl394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WnAf61ATSSf8Sd93oKnw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ceZhwHuT4e.rzVtyjqgq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2Eq7gbmRsuVGULxAW.xJ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EBJzwzvSR2VgqJMTy.0T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LUIJdbnSJ.MeYir1kti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WpKC0mLSxKq2spq0m4P9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2aelduSQTChg8F8SDmXYw"/>
</p:tagLst>
</file>

<file path=ppt/tags/tag3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e_mPU4YQbW0WbZL3IbdUg"/>
</p:tagLst>
</file>

<file path=ppt/tags/tag3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lD4t8haQs6B.7ZUDTJk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4pL0lk.SFSsZea57S9yg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zXbzWATQ0yvDSarGicP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6hUwRHTSJWk3iW6ASUB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e4RtBbHRVmTmCcijDIx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rP.8U9zTm2UmdjUBpJG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_1WwQnVTn2.6LEI..qE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hMwGjkvQlS6A3DqYDeO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YchM2fEQByfZJghnNSFj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abWGCm2TUCQrrBRgI6f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LVmJpNHQi62i7nJRu9Gdg"/>
</p:tagLst>
</file>

<file path=ppt/tags/tag49.xml><?xml version="1.0" encoding="utf-8"?>
<p:tagLst xmlns:a="http://schemas.openxmlformats.org/drawingml/2006/main" xmlns:r="http://schemas.openxmlformats.org/officeDocument/2006/relationships" xmlns:p="http://schemas.openxmlformats.org/presentationml/2006/main">
  <p:tag name="ORIGLEFT" val="311.2758"/>
  <p:tag name="ORIGTOP" val="226.5562"/>
  <p:tag name="ORIGHEIGHT" val="55.06401"/>
  <p:tag name="ORIGWIDTH" val="72.60126"/>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ORIGLEFT" val="311.2758"/>
  <p:tag name="ORIGTOP" val="226.5562"/>
  <p:tag name="ORIGHEIGHT" val="55.06401"/>
  <p:tag name="ORIGWIDTH" val="72.60126"/>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R6a5PWyQbCdJ1B_VQDP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vpGRHgrS_.Vk1cuWKd7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VDxQDIlTnubvJiQu9dB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E5CW0CBSBWqnMNgYfer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_h9lnTbRpirtl8pUEyC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jekFz4kRsOgZOhJ7pp0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JdP21yPSa63mtbUX0s8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ku0acKTAeaiU.TRQCAS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rtw94c1QhysCfgRkEy8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Jpa_1UJSlSdqptCl3Bs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6mWUcEhT4iZWkg5ZYg4t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JZa3jG5Rh60rE7JCcuq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e7xbAE2SqWanf_.HOZm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528cxqkQsWzOtqkrYfY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0F8XykTTiaXwF1SW99Y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QmDl_KdSAqHFVPlTP.2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YcmT2O_RoeUhM2tXk1P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eTFswSUTJ2oV0iz_UolY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5.5N0RGQG6bV1Mbc1q87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c70i_IWQ_aGmpspDfD5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5_Qyik2QLuHooDp.NSDz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ahOgK4eSUSo_lCjbtS.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uFd4AyfQdO6E2NA3PwJ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lG9iXtsR8eGFlixFdhJ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atUacarTRGZKsslGQ4Fq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nozNwT.QI6u7oZeMMgT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Zq33y2gTOyt22_ROeJC4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q7SYfOdS3OA1zEtnQKv7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CWl9RvdR5u87OU3HUJ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iGoX0WHS3SQfZ742Vlf5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VKKiKXKQE6yyXP0E8.Y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VHHg6k0RwCLgPrbR_J55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W9p96JR.yCb24wkk.90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DST5wFhSrmorKZMesQJ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0BPkw12S56Ov.w5UI_2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7mnO9nW_QRmyYbRgbYjR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7TC_2mgTuKPzxocaPnA8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bFSzqgSIu3tb3d4pDY.g"/>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91fkD1qRKuPkTwTU68C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oUs_2ET.m3EuwP3Xlq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tTBBeodTVaNzPRK1OOa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fKDkk9MR8.DtuFXc4IO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6IrhIWTqR82GZACTwxv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vHUJO.nQcqtcMAFvG9v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S0046Z.R0elXoemD7mJ7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jPHhnPRDWGXUTsFkhGl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5x6bnOkQcGPDHqksRA_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3itf9RzSfeEOAw0pnUiAg"/>
</p:tagLst>
</file>

<file path=ppt/theme/theme1.xml><?xml version="1.0" encoding="utf-8"?>
<a:theme xmlns:a="http://schemas.openxmlformats.org/drawingml/2006/main" name="Firm Format - template_Blue">
  <a:themeElements>
    <a:clrScheme name="Custom 2">
      <a:dk1>
        <a:srgbClr val="000000"/>
      </a:dk1>
      <a:lt1>
        <a:srgbClr val="FFFFFF"/>
      </a:lt1>
      <a:dk2>
        <a:srgbClr val="002960"/>
      </a:dk2>
      <a:lt2>
        <a:srgbClr val="FFFFFF"/>
      </a:lt2>
      <a:accent1>
        <a:srgbClr val="C5C5C5"/>
      </a:accent1>
      <a:accent2>
        <a:srgbClr val="00ADEF"/>
      </a:accent2>
      <a:accent3>
        <a:srgbClr val="0065BD"/>
      </a:accent3>
      <a:accent4>
        <a:srgbClr val="039D9F"/>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nited States) - Blue - Wide</Template>
  <TotalTime>0</TotalTime>
  <Words>3153</Words>
  <Application>Microsoft Office PowerPoint</Application>
  <PresentationFormat>Custom</PresentationFormat>
  <Paragraphs>573</Paragraphs>
  <Slides>21</Slides>
  <Notes>2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21</vt:i4>
      </vt:variant>
    </vt:vector>
  </HeadingPairs>
  <TitlesOfParts>
    <vt:vector size="29" baseType="lpstr">
      <vt:lpstr>ＭＳ Ｐゴシック</vt:lpstr>
      <vt:lpstr>Arial</vt:lpstr>
      <vt:lpstr>Arial Unicode MS</vt:lpstr>
      <vt:lpstr>Gotham</vt:lpstr>
      <vt:lpstr>Wingdings</vt:lpstr>
      <vt:lpstr>Firm Format - template_Blue</vt:lpstr>
      <vt:lpstr>think-cell Slide</vt:lpstr>
      <vt:lpstr>Chart</vt:lpstr>
      <vt:lpstr>El Desafío Mundial de Vivienda Asequible</vt:lpstr>
      <vt:lpstr>El rápido crecimiento de la población urbana ha generado que los precios de vivienda crezcan de forma acelerada</vt:lpstr>
      <vt:lpstr>Resolviendo restricciones de oferta - ejemplo Londres</vt:lpstr>
      <vt:lpstr>La asequibilidad de la vivienda es una preocupación global</vt:lpstr>
      <vt:lpstr>¿Por qué es importante la vivienda?</vt:lpstr>
      <vt:lpstr>¿Cuál es la escala del desafío a nivel global?</vt:lpstr>
      <vt:lpstr>El stock global de viviendas no se ha expandido lo suficientemente rápido como para mantenerse al ritmo de un aumento en la demanda, pero las ciudades pueden enfocarse en tres soluciones del lado de la oferta para avanzar.</vt:lpstr>
      <vt:lpstr>Desbloqueo de la tierra: se pueden considerar varias palancas para desbloquear la tierra en el lugar correcto para el desarrollo de vivienda</vt:lpstr>
      <vt:lpstr>La tierra urbana está disponible incluso en áreas densas- ejemplo de desarrollo orientado al tránsito en California</vt:lpstr>
      <vt:lpstr>El desarrollo orientado al tránsito en Hong Kong ha proporcionado  más de 600,000 viviendas asequibles</vt:lpstr>
      <vt:lpstr>Eliminar Barreras: las ciudades pueden desarrollar estructuras de gobierno que representen a todos los stakeholders y optimizar la entrega de viviendas </vt:lpstr>
      <vt:lpstr>Un enfoque de laboratorio de entrega inclusivo garantiza la colaboración y el buy in de los stakeholders</vt:lpstr>
      <vt:lpstr>Mejorar la productividad de la construcción - el poder de la innovación en la entrega</vt:lpstr>
      <vt:lpstr>En Camacol, se hizo un esfuerzo conjunto sectorial para mapear los principales riesgos y entender las brechas de productividad e innovación entre las empresas</vt:lpstr>
      <vt:lpstr>Se envió una encuesta para que las compañías auto-evaluaran más  de 100 declaraciones de mejores prácticas en 9 dimensiones</vt:lpstr>
      <vt:lpstr>De las 9 dimensiones, se compararon los resultados de 6 contra las mejores prácticas internacionales de las compañías constructoras más grandes del mundo</vt:lpstr>
      <vt:lpstr>El benchmark mostró que las 14 empresas que participaron tiene prácticas excelentes en todo</vt:lpstr>
      <vt:lpstr>Hay dispersión entre las empresas en demoras vs presupuesto</vt:lpstr>
      <vt:lpstr>Hay dispersión entre las empresas en sobrecostos vs presupuesto</vt:lpstr>
      <vt:lpstr>Se hizo una priorización de riesgos para mitigar en conjunto, muchos de ellos afectan productividad</vt:lpstr>
      <vt:lpstr>Casas GEO es un ejemplo de un constructor que ha revolucionado  la entrega de viviendas en México con un enfoque industrial</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8-03-15T08:43:54Z</dcterms:created>
  <dcterms:modified xsi:type="dcterms:W3CDTF">2018-03-16T13:25:01Z</dcterms:modified>
  <cp:category/>
  <cp:contentStatus/>
  <dc:language/>
  <cp:version/>
</cp:coreProperties>
</file>